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8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9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0.xml" ContentType="application/vnd.openxmlformats-officedocument.theme+xml"/>
  <Override PartName="/ppt/slideLayouts/slideLayout172.xml" ContentType="application/vnd.openxmlformats-officedocument.presentationml.slideLayout+xml"/>
  <Override PartName="/ppt/theme/theme11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2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3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4" r:id="rId4"/>
    <p:sldMasterId id="2147484013" r:id="rId5"/>
    <p:sldMasterId id="2147483766" r:id="rId6"/>
    <p:sldMasterId id="2147483772" r:id="rId7"/>
    <p:sldMasterId id="2147483775" r:id="rId8"/>
    <p:sldMasterId id="2147483782" r:id="rId9"/>
    <p:sldMasterId id="2147483790" r:id="rId10"/>
    <p:sldMasterId id="2147483789" r:id="rId11"/>
    <p:sldMasterId id="2147483798" r:id="rId12"/>
    <p:sldMasterId id="2147483795" r:id="rId13"/>
    <p:sldMasterId id="2147484015" r:id="rId14"/>
    <p:sldMasterId id="2147483797" r:id="rId15"/>
    <p:sldMasterId id="2147483765" r:id="rId16"/>
    <p:sldMasterId id="2147483777" r:id="rId17"/>
  </p:sldMasterIdLst>
  <p:notesMasterIdLst>
    <p:notesMasterId r:id="rId66"/>
  </p:notesMasterIdLst>
  <p:sldIdLst>
    <p:sldId id="258" r:id="rId18"/>
    <p:sldId id="284" r:id="rId19"/>
    <p:sldId id="297" r:id="rId20"/>
    <p:sldId id="288" r:id="rId21"/>
    <p:sldId id="292" r:id="rId22"/>
    <p:sldId id="331" r:id="rId23"/>
    <p:sldId id="332" r:id="rId24"/>
    <p:sldId id="333" r:id="rId25"/>
    <p:sldId id="335" r:id="rId26"/>
    <p:sldId id="291" r:id="rId27"/>
    <p:sldId id="293" r:id="rId28"/>
    <p:sldId id="290" r:id="rId29"/>
    <p:sldId id="294" r:id="rId30"/>
    <p:sldId id="336" r:id="rId31"/>
    <p:sldId id="295" r:id="rId32"/>
    <p:sldId id="296" r:id="rId33"/>
    <p:sldId id="334" r:id="rId34"/>
    <p:sldId id="298" r:id="rId35"/>
    <p:sldId id="299" r:id="rId36"/>
    <p:sldId id="300" r:id="rId37"/>
    <p:sldId id="337" r:id="rId38"/>
    <p:sldId id="301" r:id="rId39"/>
    <p:sldId id="304" r:id="rId40"/>
    <p:sldId id="305" r:id="rId41"/>
    <p:sldId id="306" r:id="rId42"/>
    <p:sldId id="302" r:id="rId43"/>
    <p:sldId id="303" r:id="rId44"/>
    <p:sldId id="311" r:id="rId45"/>
    <p:sldId id="312" r:id="rId46"/>
    <p:sldId id="314" r:id="rId47"/>
    <p:sldId id="313" r:id="rId48"/>
    <p:sldId id="307" r:id="rId49"/>
    <p:sldId id="308" r:id="rId50"/>
    <p:sldId id="309" r:id="rId51"/>
    <p:sldId id="310" r:id="rId52"/>
    <p:sldId id="315" r:id="rId53"/>
    <p:sldId id="316" r:id="rId54"/>
    <p:sldId id="319" r:id="rId55"/>
    <p:sldId id="338" r:id="rId56"/>
    <p:sldId id="317" r:id="rId57"/>
    <p:sldId id="318" r:id="rId58"/>
    <p:sldId id="322" r:id="rId59"/>
    <p:sldId id="326" r:id="rId60"/>
    <p:sldId id="327" r:id="rId61"/>
    <p:sldId id="328" r:id="rId62"/>
    <p:sldId id="320" r:id="rId63"/>
    <p:sldId id="325" r:id="rId64"/>
    <p:sldId id="321" r:id="rId65"/>
  </p:sldIdLst>
  <p:sldSz cx="12192000" cy="6858000"/>
  <p:notesSz cx="6858000" cy="9144000"/>
  <p:custDataLst>
    <p:tags r:id="rId6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6FF744-F591-FD0D-7854-3F4FDB8467AF}" name="Hans Gelissen (DHL SSC Maastricht)" initials="HG(SM" userId="S::hans.gelissen@dhl.com::1afa8510-4eed-4b73-a29e-678838cd8acd" providerId="AD"/>
  <p188:author id="{3DD3669C-276A-9A36-BA63-9779AC117A24}" name="Bente De Rijke (DHL SSC Maastricht)" initials="BDR(SM" userId="S::bente.derijke@dhl.com::475646eb-b23c-43c0-b2ae-71e1fde9b7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C000"/>
    <a:srgbClr val="00AEEF"/>
    <a:srgbClr val="BF3B4B"/>
    <a:srgbClr val="DB8993"/>
    <a:srgbClr val="D2EEFC"/>
    <a:srgbClr val="7395D3"/>
    <a:srgbClr val="0033CC"/>
    <a:srgbClr val="5982CB"/>
    <a:srgbClr val="8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8D86A4-892F-439E-81BD-9FB4BFF362A1}" v="1" dt="2023-07-14T16:52:43.467"/>
    <p1510:client id="{220C2D9C-61C6-2CD0-16E2-B13428D222E7}" v="1" dt="2023-07-31T01:59:32.8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4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4.xml"/><Relationship Id="rId72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tags" Target="tags/tag1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7" Type="http://schemas.openxmlformats.org/officeDocument/2006/relationships/slideMaster" Target="slideMasters/slideMaster4.xml"/><Relationship Id="rId71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79376C-CCB9-470D-957B-31D17B9A9F13}" type="datetimeFigureOut">
              <a:rPr lang="nl-NL" smtClean="0"/>
              <a:t>12-7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189C3-052D-4975-A211-2A13C262802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163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A189C3-052D-4975-A211-2A13C2628026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4551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A189C3-052D-4975-A211-2A13C2628026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6081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A189C3-052D-4975-A211-2A13C2628026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5891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A189C3-052D-4975-A211-2A13C2628026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316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9.wdp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0.wdp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1.wdp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2.wdp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15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6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15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7.xml.rels><?xml version="1.0" encoding="UTF-8" standalone="yes"?>
<Relationships xmlns="http://schemas.openxmlformats.org/package/2006/relationships"><Relationship Id="rId3" Type="http://schemas.microsoft.com/office/2007/relationships/hdphoto" Target="../media/hdphoto17.wdp"/><Relationship Id="rId2" Type="http://schemas.openxmlformats.org/officeDocument/2006/relationships/image" Target="../media/image15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8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15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59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16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3.wdp"/></Relationships>
</file>

<file path=ppt/slideLayouts/_rels/slideLayout160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1.xml.rels><?xml version="1.0" encoding="UTF-8" standalone="yes"?>
<Relationships xmlns="http://schemas.openxmlformats.org/package/2006/relationships"><Relationship Id="rId3" Type="http://schemas.microsoft.com/office/2007/relationships/hdphoto" Target="../media/hdphoto21.wdp"/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2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16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3.xml.rels><?xml version="1.0" encoding="UTF-8" standalone="yes"?>
<Relationships xmlns="http://schemas.openxmlformats.org/package/2006/relationships"><Relationship Id="rId3" Type="http://schemas.microsoft.com/office/2007/relationships/hdphoto" Target="../media/hdphoto23.wdp"/><Relationship Id="rId2" Type="http://schemas.openxmlformats.org/officeDocument/2006/relationships/image" Target="../media/image164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4.xml.rels><?xml version="1.0" encoding="UTF-8" standalone="yes"?>
<Relationships xmlns="http://schemas.openxmlformats.org/package/2006/relationships"><Relationship Id="rId3" Type="http://schemas.microsoft.com/office/2007/relationships/hdphoto" Target="../media/hdphoto24.wdp"/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5.xml.rels><?xml version="1.0" encoding="UTF-8" standalone="yes"?>
<Relationships xmlns="http://schemas.openxmlformats.org/package/2006/relationships"><Relationship Id="rId3" Type="http://schemas.microsoft.com/office/2007/relationships/hdphoto" Target="../media/hdphoto25.wdp"/><Relationship Id="rId2" Type="http://schemas.openxmlformats.org/officeDocument/2006/relationships/image" Target="../media/image16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6.xml.rels><?xml version="1.0" encoding="UTF-8" standalone="yes"?>
<Relationships xmlns="http://schemas.openxmlformats.org/package/2006/relationships"><Relationship Id="rId3" Type="http://schemas.microsoft.com/office/2007/relationships/hdphoto" Target="../media/hdphoto26.wdp"/><Relationship Id="rId2" Type="http://schemas.openxmlformats.org/officeDocument/2006/relationships/image" Target="../media/image16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7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16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8.xml.rels><?xml version="1.0" encoding="UTF-8" standalone="yes"?>
<Relationships xmlns="http://schemas.openxmlformats.org/package/2006/relationships"><Relationship Id="rId3" Type="http://schemas.microsoft.com/office/2007/relationships/hdphoto" Target="../media/hdphoto28.wdp"/><Relationship Id="rId2" Type="http://schemas.openxmlformats.org/officeDocument/2006/relationships/image" Target="../media/image16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69.xml.rels><?xml version="1.0" encoding="UTF-8" standalone="yes"?>
<Relationships xmlns="http://schemas.openxmlformats.org/package/2006/relationships"><Relationship Id="rId3" Type="http://schemas.microsoft.com/office/2007/relationships/hdphoto" Target="../media/hdphoto29.wdp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microsoft.com/office/2007/relationships/hdphoto" Target="../media/hdphoto30.wdp"/><Relationship Id="rId2" Type="http://schemas.openxmlformats.org/officeDocument/2006/relationships/image" Target="../media/image17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1.xml.rels><?xml version="1.0" encoding="UTF-8" standalone="yes"?>
<Relationships xmlns="http://schemas.openxmlformats.org/package/2006/relationships"><Relationship Id="rId3" Type="http://schemas.microsoft.com/office/2007/relationships/hdphoto" Target="../media/hdphoto31.wdp"/><Relationship Id="rId2" Type="http://schemas.openxmlformats.org/officeDocument/2006/relationships/image" Target="../media/image17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image" Target="../media/image156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image" Target="../media/image17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76.jpeg"/><Relationship Id="rId5" Type="http://schemas.openxmlformats.org/officeDocument/2006/relationships/image" Target="../media/image175.png"/><Relationship Id="rId4" Type="http://schemas.microsoft.com/office/2007/relationships/hdphoto" Target="../media/hdphoto32.wdp"/></Relationships>
</file>

<file path=ppt/slideLayouts/_rels/slideLayout17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7.jpeg"/><Relationship Id="rId4" Type="http://schemas.openxmlformats.org/officeDocument/2006/relationships/image" Target="../media/image173.png"/></Relationships>
</file>

<file path=ppt/slideLayouts/_rels/slideLayout17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8.jpeg"/><Relationship Id="rId4" Type="http://schemas.openxmlformats.org/officeDocument/2006/relationships/image" Target="../media/image173.png"/></Relationships>
</file>

<file path=ppt/slideLayouts/_rels/slideLayout17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79.jpeg"/><Relationship Id="rId4" Type="http://schemas.openxmlformats.org/officeDocument/2006/relationships/image" Target="../media/image173.png"/></Relationships>
</file>

<file path=ppt/slideLayouts/_rels/slideLayout17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0.jpeg"/><Relationship Id="rId4" Type="http://schemas.openxmlformats.org/officeDocument/2006/relationships/image" Target="../media/image173.png"/></Relationships>
</file>

<file path=ppt/slideLayouts/_rels/slideLayout17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1.jpeg"/><Relationship Id="rId4" Type="http://schemas.openxmlformats.org/officeDocument/2006/relationships/image" Target="../media/image173.png"/></Relationships>
</file>

<file path=ppt/slideLayouts/_rels/slideLayout17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2.jpeg"/><Relationship Id="rId4" Type="http://schemas.openxmlformats.org/officeDocument/2006/relationships/image" Target="../media/image173.png"/></Relationships>
</file>

<file path=ppt/slideLayouts/_rels/slideLayout17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3.jpeg"/><Relationship Id="rId4" Type="http://schemas.openxmlformats.org/officeDocument/2006/relationships/image" Target="../media/image17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4.jpeg"/><Relationship Id="rId4" Type="http://schemas.openxmlformats.org/officeDocument/2006/relationships/image" Target="../media/image173.png"/></Relationships>
</file>

<file path=ppt/slideLayouts/_rels/slideLayout18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5.jpeg"/><Relationship Id="rId4" Type="http://schemas.openxmlformats.org/officeDocument/2006/relationships/image" Target="../media/image173.png"/></Relationships>
</file>

<file path=ppt/slideLayouts/_rels/slideLayout18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6.jpeg"/><Relationship Id="rId4" Type="http://schemas.openxmlformats.org/officeDocument/2006/relationships/image" Target="../media/image173.png"/></Relationships>
</file>

<file path=ppt/slideLayouts/_rels/slideLayout18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7.jpeg"/><Relationship Id="rId4" Type="http://schemas.openxmlformats.org/officeDocument/2006/relationships/image" Target="../media/image173.png"/></Relationships>
</file>

<file path=ppt/slideLayouts/_rels/slideLayout18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8.jpeg"/><Relationship Id="rId4" Type="http://schemas.openxmlformats.org/officeDocument/2006/relationships/image" Target="../media/image173.png"/></Relationships>
</file>

<file path=ppt/slideLayouts/_rels/slideLayout18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89.jpeg"/><Relationship Id="rId4" Type="http://schemas.openxmlformats.org/officeDocument/2006/relationships/image" Target="../media/image173.png"/></Relationships>
</file>

<file path=ppt/slideLayouts/_rels/slideLayout18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0.jpeg"/><Relationship Id="rId4" Type="http://schemas.openxmlformats.org/officeDocument/2006/relationships/image" Target="../media/image173.png"/></Relationships>
</file>

<file path=ppt/slideLayouts/_rels/slideLayout18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1.jpeg"/><Relationship Id="rId4" Type="http://schemas.openxmlformats.org/officeDocument/2006/relationships/image" Target="../media/image173.png"/></Relationships>
</file>

<file path=ppt/slideLayouts/_rels/slideLayout18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2.jpeg"/><Relationship Id="rId4" Type="http://schemas.openxmlformats.org/officeDocument/2006/relationships/image" Target="../media/image173.png"/></Relationships>
</file>

<file path=ppt/slideLayouts/_rels/slideLayout18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3.jpeg"/><Relationship Id="rId4" Type="http://schemas.openxmlformats.org/officeDocument/2006/relationships/image" Target="../media/image173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4.jpeg"/><Relationship Id="rId4" Type="http://schemas.openxmlformats.org/officeDocument/2006/relationships/image" Target="../media/image173.png"/></Relationships>
</file>

<file path=ppt/slideLayouts/_rels/slideLayout19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73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7" Type="http://schemas.microsoft.com/office/2007/relationships/hdphoto" Target="../media/hdphoto33.wdp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98.png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Layouts/_rels/slideLayout19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99.jpeg"/><Relationship Id="rId4" Type="http://schemas.openxmlformats.org/officeDocument/2006/relationships/image" Target="../media/image173.png"/></Relationships>
</file>

<file path=ppt/slideLayouts/_rels/slideLayout19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0.jpeg"/><Relationship Id="rId4" Type="http://schemas.openxmlformats.org/officeDocument/2006/relationships/image" Target="../media/image173.png"/></Relationships>
</file>

<file path=ppt/slideLayouts/_rels/slideLayout19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1.png"/><Relationship Id="rId4" Type="http://schemas.openxmlformats.org/officeDocument/2006/relationships/image" Target="../media/image173.png"/></Relationships>
</file>

<file path=ppt/slideLayouts/_rels/slideLayout19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2.jpeg"/><Relationship Id="rId4" Type="http://schemas.openxmlformats.org/officeDocument/2006/relationships/image" Target="../media/image173.png"/></Relationships>
</file>

<file path=ppt/slideLayouts/_rels/slideLayout19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3.jpeg"/><Relationship Id="rId4" Type="http://schemas.openxmlformats.org/officeDocument/2006/relationships/image" Target="../media/image173.png"/></Relationships>
</file>

<file path=ppt/slideLayouts/_rels/slideLayout19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4.jpeg"/><Relationship Id="rId4" Type="http://schemas.openxmlformats.org/officeDocument/2006/relationships/image" Target="../media/image17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5.jpeg"/><Relationship Id="rId4" Type="http://schemas.openxmlformats.org/officeDocument/2006/relationships/image" Target="../media/image173.png"/></Relationships>
</file>

<file path=ppt/slideLayouts/_rels/slideLayout20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6.jpeg"/><Relationship Id="rId4" Type="http://schemas.openxmlformats.org/officeDocument/2006/relationships/image" Target="../media/image173.png"/></Relationships>
</file>

<file path=ppt/slideLayouts/_rels/slideLayout20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7.jpeg"/><Relationship Id="rId4" Type="http://schemas.openxmlformats.org/officeDocument/2006/relationships/image" Target="../media/image17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8.jpeg"/><Relationship Id="rId4" Type="http://schemas.openxmlformats.org/officeDocument/2006/relationships/image" Target="../media/image173.png"/></Relationships>
</file>

<file path=ppt/slideLayouts/_rels/slideLayout204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09.jpeg"/><Relationship Id="rId4" Type="http://schemas.openxmlformats.org/officeDocument/2006/relationships/image" Target="../media/image173.png"/></Relationships>
</file>

<file path=ppt/slideLayouts/_rels/slideLayout20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0.jpeg"/><Relationship Id="rId4" Type="http://schemas.openxmlformats.org/officeDocument/2006/relationships/image" Target="../media/image173.png"/></Relationships>
</file>

<file path=ppt/slideLayouts/_rels/slideLayout206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1.jpeg"/><Relationship Id="rId4" Type="http://schemas.openxmlformats.org/officeDocument/2006/relationships/image" Target="../media/image173.png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2.jpeg"/><Relationship Id="rId4" Type="http://schemas.openxmlformats.org/officeDocument/2006/relationships/image" Target="../media/image173.png"/></Relationships>
</file>

<file path=ppt/slideLayouts/_rels/slideLayout20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3.jpeg"/><Relationship Id="rId4" Type="http://schemas.openxmlformats.org/officeDocument/2006/relationships/image" Target="../media/image173.png"/></Relationships>
</file>

<file path=ppt/slideLayouts/_rels/slideLayout209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4.jpeg"/><Relationship Id="rId4" Type="http://schemas.openxmlformats.org/officeDocument/2006/relationships/image" Target="../media/image17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5.jpeg"/><Relationship Id="rId4" Type="http://schemas.openxmlformats.org/officeDocument/2006/relationships/image" Target="../media/image173.png"/></Relationships>
</file>

<file path=ppt/slideLayouts/_rels/slideLayout21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16.jpeg"/><Relationship Id="rId4" Type="http://schemas.openxmlformats.org/officeDocument/2006/relationships/image" Target="../media/image173.png"/></Relationships>
</file>

<file path=ppt/slideLayouts/_rels/slideLayout212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73.png"/></Relationships>
</file>

<file path=ppt/slideLayouts/_rels/slideLayout213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217.png"/><Relationship Id="rId1" Type="http://schemas.openxmlformats.org/officeDocument/2006/relationships/slideMaster" Target="../slideMasters/slideMaster13.xml"/><Relationship Id="rId5" Type="http://schemas.microsoft.com/office/2007/relationships/hdphoto" Target="../media/hdphoto34.wdp"/><Relationship Id="rId4" Type="http://schemas.openxmlformats.org/officeDocument/2006/relationships/image" Target="../media/image218.png"/></Relationships>
</file>

<file path=ppt/slideLayouts/_rels/slideLayout214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217.png"/><Relationship Id="rId1" Type="http://schemas.openxmlformats.org/officeDocument/2006/relationships/slideMaster" Target="../slideMasters/slideMaster13.xml"/><Relationship Id="rId5" Type="http://schemas.microsoft.com/office/2007/relationships/hdphoto" Target="../media/hdphoto34.wdp"/><Relationship Id="rId4" Type="http://schemas.openxmlformats.org/officeDocument/2006/relationships/image" Target="../media/image218.png"/></Relationships>
</file>

<file path=ppt/slideLayouts/_rels/slideLayout216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2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7.wdp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8.wdp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9.wdp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0.wdp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1.wdp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2.wdp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3.wdp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8.jpeg"/><Relationship Id="rId4" Type="http://schemas.microsoft.com/office/2007/relationships/hdphoto" Target="../media/hdphoto14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9.jpeg"/><Relationship Id="rId4" Type="http://schemas.microsoft.com/office/2007/relationships/hdphoto" Target="../media/hdphoto14.wdp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0.jpeg"/><Relationship Id="rId4" Type="http://schemas.microsoft.com/office/2007/relationships/hdphoto" Target="../media/hdphoto14.wdp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1.jpeg"/><Relationship Id="rId4" Type="http://schemas.microsoft.com/office/2007/relationships/hdphoto" Target="../media/hdphoto14.wdp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2.jpeg"/><Relationship Id="rId4" Type="http://schemas.microsoft.com/office/2007/relationships/hdphoto" Target="../media/hdphoto14.wdp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jpeg"/><Relationship Id="rId4" Type="http://schemas.microsoft.com/office/2007/relationships/hdphoto" Target="../media/hdphoto14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4.jpeg"/><Relationship Id="rId4" Type="http://schemas.microsoft.com/office/2007/relationships/hdphoto" Target="../media/hdphoto14.wdp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5.jpeg"/><Relationship Id="rId4" Type="http://schemas.microsoft.com/office/2007/relationships/hdphoto" Target="../media/hdphoto14.wdp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jpeg"/><Relationship Id="rId4" Type="http://schemas.microsoft.com/office/2007/relationships/hdphoto" Target="../media/hdphoto14.wdp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7.jpeg"/><Relationship Id="rId4" Type="http://schemas.microsoft.com/office/2007/relationships/hdphoto" Target="../media/hdphoto14.wdp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8.jpeg"/><Relationship Id="rId4" Type="http://schemas.microsoft.com/office/2007/relationships/hdphoto" Target="../media/hdphoto14.wdp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9.jpeg"/><Relationship Id="rId4" Type="http://schemas.microsoft.com/office/2007/relationships/hdphoto" Target="../media/hdphoto14.wdp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0.jpeg"/><Relationship Id="rId4" Type="http://schemas.microsoft.com/office/2007/relationships/hdphoto" Target="../media/hdphoto14.wdp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1.jpeg"/><Relationship Id="rId4" Type="http://schemas.microsoft.com/office/2007/relationships/hdphoto" Target="../media/hdphoto14.wd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2.jpeg"/><Relationship Id="rId4" Type="http://schemas.microsoft.com/office/2007/relationships/hdphoto" Target="../media/hdphoto14.wdp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3.jpeg"/><Relationship Id="rId4" Type="http://schemas.microsoft.com/office/2007/relationships/hdphoto" Target="../media/hdphoto14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4.jpeg"/><Relationship Id="rId4" Type="http://schemas.microsoft.com/office/2007/relationships/hdphoto" Target="../media/hdphoto14.wd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5.jpeg"/><Relationship Id="rId4" Type="http://schemas.microsoft.com/office/2007/relationships/hdphoto" Target="../media/hdphoto14.wdp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6.jpeg"/><Relationship Id="rId4" Type="http://schemas.microsoft.com/office/2007/relationships/hdphoto" Target="../media/hdphoto14.wdp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4.wdp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7.wdp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8.wdp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1">
    <p:bg>
      <p:bgPr>
        <a:gradFill>
          <a:gsLst>
            <a:gs pos="24000">
              <a:schemeClr val="bg1">
                <a:alpha val="0"/>
              </a:schemeClr>
            </a:gs>
            <a:gs pos="100000">
              <a:srgbClr val="D2EEF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B43C5739-9C50-4600-9D8C-4447946A6F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02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91AB789-4696-4D28-8BA1-80BA27DDF8D9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DAF46B8-C243-4C9F-AF45-36B2280FB4D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A9F479D-D471-49DF-AC54-46C87E517D50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968E00-6E91-4173-A9A3-5DEA2D53D979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33708CC-3E47-41A1-AE08-A9241C1B242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60AA8C5-CD0E-40BE-B9AC-CE4A89001B8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A6C49861-D4FC-4572-B2CD-9B4F661E6E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3DF7485-32A6-4E17-868B-C7991C3FEC4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14BE175D-CC04-4FA0-B052-01427B361F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751D0CE-6385-47F8-BE2A-E5B0319DA8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3C4FCADC-3A29-472B-A041-AF95888282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A4CC093-256C-452E-ADF2-8AC8AD0B07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1055BC9F-76B2-4DC9-B646-C3DBF08FE7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C1D61945-1D36-4C46-94EA-09639294D2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03A1C6A-1D6A-4180-A0D9-DC2133AB5E0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B64840F-D5C1-4379-AA9D-E34F57D819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E876024-2B36-40F8-BD2F-E22EC8FBA6C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B8E76BA-92E6-4A24-B419-903994AFA0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E4DAC61B-A6EA-40DF-A6CA-406E78A348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0B4BF62-C933-40EF-9FFD-36F7DFD2FA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AD7FE86-F458-477D-8987-7EB5E430B2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4C900C-B786-4C7D-B946-C89ADC1F868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25D3909-379A-47F0-BE09-6E6F278F48F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22B5079-F74D-4727-89F7-6199AF6265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2B01D1C-650D-42BB-BF15-ACD8121D92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1AE4ACF3-006A-4F3C-9CB1-D0CE27F8A8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D46D9B4-E9AB-433F-AEC7-A32416D14F4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1F2AF9C-48E6-45FD-9799-5AFB06701B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0B57178-91CE-43F2-8F84-93DFBDC06A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6CAF3AF-BE7C-4BE0-9F3E-414DDDE9546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4D45B54-E16A-41AE-906E-60C66656DB3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84992A8-B534-4C80-B5D2-165C2096B56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45CB2C0-559C-483A-B467-18495FC6FE9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704BC36-310C-499E-88DA-D5B9B0C46F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4769ECB-893B-469D-AFF4-A26CF0D7724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32318BD6-0127-461A-AE31-450236FAC8F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CEC3FF5-C7A7-44D8-964F-7EEAAC4B3D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63E4DF0-3BDF-44EF-B4CF-4695F482286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FB73E6A-162D-4597-9949-E2DCBDCA7A1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43743B5-5C57-4A17-BD16-FAFEAF8437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A380C2E-433A-4855-AE90-561C1DD5BC11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A8EFCA7-D62A-40AF-A0EE-8CD32139C68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ACDDF769-3287-42DE-8726-81CD485DD1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74DFBA7-E237-4694-A16D-8C66E667047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2899A1AA-7CE5-469A-8DDE-69F0E7B41C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773D1B30-05A4-495B-931B-968ECE0C14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8B0CA0-5922-35C0-4E75-07D06CD1FCD7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E6F41C3-8FF0-0EA1-CCCC-CCD909EB558F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FBA5E2D5-4CFC-A658-C581-5518427727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550556F-4867-D801-4E62-D07B69D9F699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770137B4-2550-6F23-6F1C-A6DCFCC1BAA9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307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45F9B6AB-F9A0-4EC1-A281-A500C0BBC4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1968" y="0"/>
            <a:ext cx="728432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CB1764CA-5D9E-486C-B161-FDBA6DEA1EB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36" b="99466" l="65302" r="96520">
                        <a14:foregroundMark x1="96622" y1="59188" x2="96520" y2="61111"/>
                        <a14:foregroundMark x1="96622" y1="54701" x2="95906" y2="56944"/>
                        <a14:foregroundMark x1="82600" y1="24573" x2="80348" y2="27457"/>
                        <a14:foregroundMark x1="84749" y1="22436" x2="90276" y2="24038"/>
                        <a14:foregroundMark x1="67451" y1="63034" x2="65404" y2="64103"/>
                        <a14:foregroundMark x1="94063" y1="77350" x2="95906" y2="99466"/>
                        <a14:foregroundMark x1="78506" y1="83120" x2="73900" y2="98504"/>
                        <a14:foregroundMark x1="87206" y1="22650" x2="87206" y2="22650"/>
                        <a14:foregroundMark x1="87206" y1="22329" x2="85466" y2="22222"/>
                        <a14:backgroundMark x1="72979" y1="91239" x2="71341" y2="99573"/>
                        <a14:backgroundMark x1="85670" y1="21902" x2="85670" y2="219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474"/>
          <a:stretch/>
        </p:blipFill>
        <p:spPr bwMode="auto">
          <a:xfrm flipH="1">
            <a:off x="-35859" y="-46506"/>
            <a:ext cx="2680288" cy="690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B6681E9-F93C-7280-AB37-A7A40713BAB4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1FA50B7-A5B8-E7F3-07FB-B062DA7B1BD2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93E999E-1758-D556-F298-DA2F0D0822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525F35-618D-D760-66D2-28725FAC642E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80DD996-2036-9FDF-F68F-0F3DC9B2A1A2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19405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61">
            <a:extLst>
              <a:ext uri="{FF2B5EF4-FFF2-40B4-BE49-F238E27FC236}">
                <a16:creationId xmlns:a16="http://schemas.microsoft.com/office/drawing/2014/main" id="{08E6D46D-DA71-472B-A63A-5E527CCE27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7338" y="-196343"/>
            <a:ext cx="2941233" cy="2941233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D4293BE-EADE-0E22-4133-8765D7F6E0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56990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66">
            <a:extLst>
              <a:ext uri="{FF2B5EF4-FFF2-40B4-BE49-F238E27FC236}">
                <a16:creationId xmlns:a16="http://schemas.microsoft.com/office/drawing/2014/main" id="{74F869F0-BACE-41C7-A322-B09511CD3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31485" y="-145618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6F01F77-6A39-DDEC-7FC5-C3AFD8CE8F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5931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1" descr="A picture containing person, ground, outdoor&#10;&#10;Description automatically generated">
            <a:extLst>
              <a:ext uri="{FF2B5EF4-FFF2-40B4-BE49-F238E27FC236}">
                <a16:creationId xmlns:a16="http://schemas.microsoft.com/office/drawing/2014/main" id="{223E0373-AB26-4C70-8293-B94DD4302C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3648" y="-1746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B0030ED-8861-C16B-2E85-6240DADEA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41434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44">
            <a:extLst>
              <a:ext uri="{FF2B5EF4-FFF2-40B4-BE49-F238E27FC236}">
                <a16:creationId xmlns:a16="http://schemas.microsoft.com/office/drawing/2014/main" id="{1FFD8D38-55F1-455B-8F57-103CA35CDC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61652" y="-181354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435B61A-BA63-9089-6553-A906206224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35916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28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CAE5C3F0-7A57-4509-A39B-B712FEE8DD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1703" y="-18411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CA0FB04-1D69-A902-E489-D59662D9E3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5470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137">
            <a:extLst>
              <a:ext uri="{FF2B5EF4-FFF2-40B4-BE49-F238E27FC236}">
                <a16:creationId xmlns:a16="http://schemas.microsoft.com/office/drawing/2014/main" id="{A88CDFA4-3048-4B5A-B351-99A4F5726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933" y="-1619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0DEC3F-08F9-2545-6974-CF00473620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4878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32">
            <a:extLst>
              <a:ext uri="{FF2B5EF4-FFF2-40B4-BE49-F238E27FC236}">
                <a16:creationId xmlns:a16="http://schemas.microsoft.com/office/drawing/2014/main" id="{D4F8B68D-F1AB-4BBB-93B4-ADA9BAD1EE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3950" y="-16360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6018269-6127-6A7A-F638-6FF35AB347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8325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68">
            <a:extLst>
              <a:ext uri="{FF2B5EF4-FFF2-40B4-BE49-F238E27FC236}">
                <a16:creationId xmlns:a16="http://schemas.microsoft.com/office/drawing/2014/main" id="{9667BFF7-1B13-4CC9-BF2C-11388F0C3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1439" y="-188152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CEBF8D7-05CE-77B6-1FBD-8D70198259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7395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73" descr="A picture containing person, yellow, blue&#10;&#10;Description automatically generated">
            <a:extLst>
              <a:ext uri="{FF2B5EF4-FFF2-40B4-BE49-F238E27FC236}">
                <a16:creationId xmlns:a16="http://schemas.microsoft.com/office/drawing/2014/main" id="{7C958FA5-9EB2-4506-9A88-C836A32299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5864" y="-193876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169DF41-3B6F-8635-719F-1409A46592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20497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83">
            <a:extLst>
              <a:ext uri="{FF2B5EF4-FFF2-40B4-BE49-F238E27FC236}">
                <a16:creationId xmlns:a16="http://schemas.microsoft.com/office/drawing/2014/main" id="{14DC6DCD-0887-4C8A-AD51-C66A4BF96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764" y="-156396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76867EF-CD25-BEFB-0B60-407190F824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460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323FBCDE-CAB9-449A-85C0-B8C741E8236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7130921" cy="686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6351533-3A3D-B021-881E-FAFC54B0411C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A88EDD2-B63C-5E9B-D4B3-E9890E92D14F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10200BB-FAFA-8E13-2BFB-E5F55B0222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CC18C93-E960-74D6-2FFF-AAAC62E98CA9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CD747CC-83B3-76E6-93C5-C2B83F29F5EC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4327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78">
            <a:extLst>
              <a:ext uri="{FF2B5EF4-FFF2-40B4-BE49-F238E27FC236}">
                <a16:creationId xmlns:a16="http://schemas.microsoft.com/office/drawing/2014/main" id="{867149C0-22C6-417C-9400-0D1F080D45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1439" y="-18551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4858F93-09E9-3B1F-37D2-EB444B0D2D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85544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1" name="Picture Placeholder 159" descr="A group of people in clothing&#10;&#10;Description automatically generated with low confidence">
            <a:extLst>
              <a:ext uri="{FF2B5EF4-FFF2-40B4-BE49-F238E27FC236}">
                <a16:creationId xmlns:a16="http://schemas.microsoft.com/office/drawing/2014/main" id="{86B42518-54F2-48D0-AB37-26AB746B9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3"/>
          <a:stretch/>
        </p:blipFill>
        <p:spPr>
          <a:xfrm>
            <a:off x="9450647" y="-194761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E30FC43-62E6-9827-A9E3-04247A70A8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49150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49">
            <a:extLst>
              <a:ext uri="{FF2B5EF4-FFF2-40B4-BE49-F238E27FC236}">
                <a16:creationId xmlns:a16="http://schemas.microsoft.com/office/drawing/2014/main" id="{E6F26590-4515-4493-9748-C1D3865E57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46823" y="-18095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B0E4112-6506-6FE3-F3B6-E950D191C4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766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99ED9B69-E260-4071-A1FE-0CAD30A88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010" y="-158441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A719DBC-112E-F094-92AF-9B66EDBD09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360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E8F8C57A-9156-4C48-80B8-BB5DBA493B8B}"/>
              </a:ext>
            </a:extLst>
          </p:cNvPr>
          <p:cNvSpPr>
            <a:spLocks noChangeAspect="1"/>
          </p:cNvSpPr>
          <p:nvPr userDrawn="1"/>
        </p:nvSpPr>
        <p:spPr>
          <a:xfrm>
            <a:off x="9156146" y="-437487"/>
            <a:ext cx="3439291" cy="3406128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D9BD97E-8857-487F-A778-D7DB70EA67CF}"/>
              </a:ext>
            </a:extLst>
          </p:cNvPr>
          <p:cNvSpPr>
            <a:spLocks noChangeAspect="1"/>
          </p:cNvSpPr>
          <p:nvPr userDrawn="1"/>
        </p:nvSpPr>
        <p:spPr>
          <a:xfrm>
            <a:off x="9242995" y="-345174"/>
            <a:ext cx="3261356" cy="3229908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6C7233ED-32AA-4806-845D-0643D1B06CE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429064" y="-180364"/>
            <a:ext cx="2881395" cy="2881395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7EAA926-E4EB-022B-BF38-57E75A5977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071810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4">
            <a:extLst>
              <a:ext uri="{FF2B5EF4-FFF2-40B4-BE49-F238E27FC236}">
                <a16:creationId xmlns:a16="http://schemas.microsoft.com/office/drawing/2014/main" id="{C757CF11-20B2-4700-8713-4A67CFD867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68041" y="388360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86B18F8-3B49-4A0E-2F43-37B760B163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4879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19">
            <a:extLst>
              <a:ext uri="{FF2B5EF4-FFF2-40B4-BE49-F238E27FC236}">
                <a16:creationId xmlns:a16="http://schemas.microsoft.com/office/drawing/2014/main" id="{6881D655-B486-4AB5-B00C-EF67803F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1165" y="388699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A75B88A-966F-1F1A-E6A3-9295335393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25113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14">
            <a:extLst>
              <a:ext uri="{FF2B5EF4-FFF2-40B4-BE49-F238E27FC236}">
                <a16:creationId xmlns:a16="http://schemas.microsoft.com/office/drawing/2014/main" id="{9F00E62C-64C3-4F25-825D-900EFD72EB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1084" y="388955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F14ED5B-A010-3CD7-DF94-C94AE7F833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350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">
            <a:extLst>
              <a:ext uri="{FF2B5EF4-FFF2-40B4-BE49-F238E27FC236}">
                <a16:creationId xmlns:a16="http://schemas.microsoft.com/office/drawing/2014/main" id="{BCE4A188-44D9-4D50-8252-5E5A0F3389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6"/>
          <a:stretch/>
        </p:blipFill>
        <p:spPr>
          <a:xfrm>
            <a:off x="-168041" y="387899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4B02327-0E32-A4F1-7E1F-E0FB2BE7D2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121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83" descr="A picture containing person&#10;&#10;Description automatically generated">
            <a:extLst>
              <a:ext uri="{FF2B5EF4-FFF2-40B4-BE49-F238E27FC236}">
                <a16:creationId xmlns:a16="http://schemas.microsoft.com/office/drawing/2014/main" id="{2BEA96F9-02D1-4229-BD4F-A862A957E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476" y="3879878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53E05C1-9BC3-2D6E-D10C-AA0BEE817B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4637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2">
            <a:extLst>
              <a:ext uri="{FF2B5EF4-FFF2-40B4-BE49-F238E27FC236}">
                <a16:creationId xmlns:a16="http://schemas.microsoft.com/office/drawing/2014/main" id="{EEDDF8FE-E60C-4C1E-B6C0-8988D3D760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392" y="494278"/>
            <a:ext cx="7282925" cy="6363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604A2C2B-9EE5-4F45-B951-1CD0A801AF1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299" b="99485" l="0" r="45405">
                        <a14:foregroundMark x1="17568" y1="3299" x2="24775" y2="15979"/>
                        <a14:foregroundMark x1="9550" y1="38454" x2="23604" y2="78144"/>
                        <a14:foregroundMark x1="23604" y1="78144" x2="37748" y2="99485"/>
                        <a14:foregroundMark x1="36757" y1="38041" x2="1081" y2="93299"/>
                        <a14:foregroundMark x1="7387" y1="39897" x2="631" y2="43402"/>
                        <a14:foregroundMark x1="631" y1="43402" x2="0" y2="44948"/>
                        <a14:foregroundMark x1="40360" y1="48454" x2="45405" y2="65464"/>
                        <a14:foregroundMark x1="34595" y1="70722" x2="35766" y2="82784"/>
                        <a14:foregroundMark x1="9730" y1="94742" x2="13423" y2="98866"/>
                        <a14:foregroundMark x1="13784" y1="14845" x2="23153" y2="22062"/>
                        <a14:foregroundMark x1="21712" y1="15567" x2="23243" y2="22371"/>
                        <a14:foregroundMark x1="12613" y1="14845" x2="15495" y2="21856"/>
                        <a14:foregroundMark x1="9009" y1="18557" x2="9550" y2="20412"/>
                        <a14:foregroundMark x1="10270" y1="23711" x2="10541" y2="24948"/>
                        <a14:foregroundMark x1="10028" y1="25361" x2="10090" y2="26495"/>
                        <a14:foregroundMark x1="10000" y1="24845" x2="10028" y2="25361"/>
                        <a14:foregroundMark x1="10541" y1="27010" x2="11622" y2="26701"/>
                        <a14:foregroundMark x1="25225" y1="24845" x2="25676" y2="26289"/>
                        <a14:foregroundMark x1="25315" y1="26082" x2="25045" y2="27320"/>
                        <a14:foregroundMark x1="11351" y1="25258" x2="11351" y2="25258"/>
                        <a14:foregroundMark x1="12162" y1="34845" x2="12162" y2="34845"/>
                        <a14:foregroundMark x1="12703" y1="34536" x2="12703" y2="34536"/>
                        <a14:foregroundMark x1="10360" y1="37835" x2="10360" y2="37835"/>
                        <a14:foregroundMark x1="27658" y1="36392" x2="27658" y2="36392"/>
                        <a14:backgroundMark x1="31171" y1="26392" x2="42342" y2="31959"/>
                        <a14:backgroundMark x1="30090" y1="35258" x2="30090" y2="35258"/>
                        <a14:backgroundMark x1="33153" y1="35670" x2="36757" y2="36495"/>
                        <a14:backgroundMark x1="25045" y1="26186" x2="25045" y2="26186"/>
                        <a14:backgroundMark x1="9820" y1="23711" x2="9820" y2="23711"/>
                        <a14:backgroundMark x1="10901" y1="25361" x2="10901" y2="25361"/>
                        <a14:backgroundMark x1="10721" y1="24845" x2="10721" y2="24845"/>
                        <a14:backgroundMark x1="12072" y1="34845" x2="12072" y2="348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3566"/>
          <a:stretch/>
        </p:blipFill>
        <p:spPr bwMode="auto">
          <a:xfrm>
            <a:off x="-9046" y="691342"/>
            <a:ext cx="3368018" cy="61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96000" y="233950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DAD014A-3FCA-4C09-8E53-F5DC58BA7169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7057DCF-ABD1-56A7-BFAB-9C9C8D25A141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D043167-9919-A027-DBBF-D4C176DDD0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579149F-8A49-FDF0-6910-7AC42C0610F2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D5B3D37-A637-57A7-9265-94C4B8E98F21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885704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93" descr="A group of people sitting together smiling&#10;&#10;Description automatically generated with low confidence">
            <a:extLst>
              <a:ext uri="{FF2B5EF4-FFF2-40B4-BE49-F238E27FC236}">
                <a16:creationId xmlns:a16="http://schemas.microsoft.com/office/drawing/2014/main" id="{FDB658BD-59CB-4575-BA10-B7631BBE2C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2997" y="389463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80BAB40-2E52-66CE-1068-4E9E4AB64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2697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78" descr="A picture containing person, nature, posing, night&#10;&#10;Description automatically generated">
            <a:extLst>
              <a:ext uri="{FF2B5EF4-FFF2-40B4-BE49-F238E27FC236}">
                <a16:creationId xmlns:a16="http://schemas.microsoft.com/office/drawing/2014/main" id="{CE3BAD35-B15E-4867-B64F-91EF87CAD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34" y="390216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832B3F0-47B6-8273-F465-D76756048B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93156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8" descr="A picture containing person, table, indoor, food&#10;&#10;Description automatically generated">
            <a:extLst>
              <a:ext uri="{FF2B5EF4-FFF2-40B4-BE49-F238E27FC236}">
                <a16:creationId xmlns:a16="http://schemas.microsoft.com/office/drawing/2014/main" id="{443B7DCF-CD77-480D-99A9-9FD8FE86DB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7054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BDF8148-85B1-55CD-88D9-0B17E595D1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5865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42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D9C6C32F-A67D-43A4-B6A2-6C535769D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0075" y="388719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6A9464F-26E3-CEC7-C351-064488B4CE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0994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7">
            <a:extLst>
              <a:ext uri="{FF2B5EF4-FFF2-40B4-BE49-F238E27FC236}">
                <a16:creationId xmlns:a16="http://schemas.microsoft.com/office/drawing/2014/main" id="{8A194EB5-160B-44AE-8242-487F6D92BC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3447" y="38756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70EC8EB-A0B7-DBA0-93F4-A8CEF8D031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49091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Placeholder 32" descr="A picture containing person, young, child, blue&#10;&#10;Description automatically generated">
            <a:extLst>
              <a:ext uri="{FF2B5EF4-FFF2-40B4-BE49-F238E27FC236}">
                <a16:creationId xmlns:a16="http://schemas.microsoft.com/office/drawing/2014/main" id="{C33B0AB1-29FC-48E3-8DBC-E49844E4F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9957" y="38853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6A2E50-7171-F26C-B0A4-446933500F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1227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27">
            <a:extLst>
              <a:ext uri="{FF2B5EF4-FFF2-40B4-BE49-F238E27FC236}">
                <a16:creationId xmlns:a16="http://schemas.microsoft.com/office/drawing/2014/main" id="{0398783E-4B82-4673-B152-445A093BB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1559" y="390450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36CF449-7E8E-B33A-AC29-0878F41C73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1641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0">
            <a:extLst>
              <a:ext uri="{FF2B5EF4-FFF2-40B4-BE49-F238E27FC236}">
                <a16:creationId xmlns:a16="http://schemas.microsoft.com/office/drawing/2014/main" id="{CF089419-B63A-448E-8C4B-1756A680E6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87847" y="387035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DFD4C79-98A4-1E75-5D18-A107561ABB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8152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5">
            <a:extLst>
              <a:ext uri="{FF2B5EF4-FFF2-40B4-BE49-F238E27FC236}">
                <a16:creationId xmlns:a16="http://schemas.microsoft.com/office/drawing/2014/main" id="{6A6263D6-E1C9-4223-935E-C582236E2A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2047" y="3883820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0343C-57C7-5EB6-4D62-5D83961A9D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3417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300">
            <a:extLst>
              <a:ext uri="{FF2B5EF4-FFF2-40B4-BE49-F238E27FC236}">
                <a16:creationId xmlns:a16="http://schemas.microsoft.com/office/drawing/2014/main" id="{004082D3-6256-49BE-972C-722630C460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9167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DEB4967-353B-4DCD-E32F-FE09DAFC79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415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W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901E77CF-198E-4E69-A319-BCD113DCD8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501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7BC4F56E-5262-406E-9578-4A2516DA62D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127" b="99688" l="96" r="38182">
                        <a14:foregroundMark x1="10622" y1="19127" x2="18182" y2="28586"/>
                        <a14:foregroundMark x1="17432" y1="19975" x2="22070" y2="29665"/>
                        <a14:foregroundMark x1="12057" y1="25572" x2="96" y2="49688"/>
                        <a14:foregroundMark x1="13110" y1="29210" x2="13397" y2="33472"/>
                        <a14:foregroundMark x1="27870" y1="30497" x2="24593" y2="74428"/>
                        <a14:foregroundMark x1="24593" y1="74428" x2="24593" y2="74428"/>
                        <a14:foregroundMark x1="31770" y1="48649" x2="33876" y2="63825"/>
                        <a14:foregroundMark x1="33876" y1="63825" x2="33493" y2="67048"/>
                        <a14:foregroundMark x1="29569" y1="58316" x2="28134" y2="69335"/>
                        <a14:foregroundMark x1="28134" y1="68295" x2="24880" y2="78067"/>
                        <a14:foregroundMark x1="24306" y1="71830" x2="23062" y2="88150"/>
                        <a14:foregroundMark x1="23062" y1="88150" x2="25167" y2="92827"/>
                        <a14:foregroundMark x1="11005" y1="84304" x2="6603" y2="96258"/>
                        <a14:foregroundMark x1="6603" y1="96258" x2="3158" y2="99792"/>
                        <a14:foregroundMark x1="4498" y1="81809" x2="3158" y2="96778"/>
                        <a14:foregroundMark x1="3158" y1="96778" x2="2871" y2="97505"/>
                        <a14:foregroundMark x1="9856" y1="94699" x2="19426" y2="98441"/>
                        <a14:foregroundMark x1="23349" y1="90333" x2="26411" y2="99896"/>
                        <a14:foregroundMark x1="24976" y1="92620" x2="28134" y2="99272"/>
                        <a14:foregroundMark x1="28134" y1="99272" x2="28134" y2="99272"/>
                        <a14:foregroundMark x1="27560" y1="85655" x2="27560" y2="85655"/>
                        <a14:foregroundMark x1="26603" y1="93555" x2="29187" y2="99896"/>
                        <a14:foregroundMark x1="34737" y1="33992" x2="38086" y2="35863"/>
                        <a14:foregroundMark x1="38182" y1="33160" x2="37608" y2="35551"/>
                        <a14:foregroundMark x1="36364" y1="32744" x2="37321" y2="33160"/>
                        <a14:foregroundMark x1="28038" y1="83992" x2="28038" y2="83992"/>
                        <a14:foregroundMark x1="28325" y1="68295" x2="31579" y2="72661"/>
                        <a14:backgroundMark x1="4402" y1="19751" x2="4211" y2="26403"/>
                        <a14:backgroundMark x1="15311" y1="18711" x2="17608" y2="19751"/>
                        <a14:backgroundMark x1="26316" y1="26299" x2="26603" y2="28690"/>
                        <a14:backgroundMark x1="26411" y1="27131" x2="23158" y2="30977"/>
                        <a14:backgroundMark x1="27368" y1="29210" x2="30144" y2="28690"/>
                        <a14:backgroundMark x1="20861" y1="34927" x2="20861" y2="34927"/>
                        <a14:backgroundMark x1="22105" y1="31913" x2="22105" y2="31913"/>
                        <a14:backgroundMark x1="4211" y1="30353" x2="4211" y2="30353"/>
                        <a14:backgroundMark x1="4306" y1="27651" x2="4306" y2="27651"/>
                        <a14:backgroundMark x1="4976" y1="25364" x2="4976" y2="270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576" r="59636"/>
          <a:stretch/>
        </p:blipFill>
        <p:spPr bwMode="auto">
          <a:xfrm>
            <a:off x="0" y="1205379"/>
            <a:ext cx="3007187" cy="5652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A231C5-0D8F-B784-3BA1-EB0DE8314895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A392F9-1BE1-18E2-065A-917F070ED8A1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62AB157-88ED-781C-B5C2-34D9CD5184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2A2BB36-3B1E-7A34-4B80-1D526AFAFF2C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B2AD6AC-341A-B6B1-9C92-5B25D6A921B8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754777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05">
            <a:extLst>
              <a:ext uri="{FF2B5EF4-FFF2-40B4-BE49-F238E27FC236}">
                <a16:creationId xmlns:a16="http://schemas.microsoft.com/office/drawing/2014/main" id="{370EA77C-B79A-4A82-8FD7-2A64BA03F4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90265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E65B1FF-7127-574F-E220-9325019FB8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08383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82D810F-1659-482E-9430-E9950F8D5FA8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87167849-46A9-46ED-B2FD-631A5A019959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" descr="A picture containing group, outdoor object, several&#10;&#10;Description automatically generated">
            <a:extLst>
              <a:ext uri="{FF2B5EF4-FFF2-40B4-BE49-F238E27FC236}">
                <a16:creationId xmlns:a16="http://schemas.microsoft.com/office/drawing/2014/main" id="{DF153A97-3AF5-4135-AE2D-80910CB0D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9221" y="3894028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D33F20E-C1FB-6A50-56FD-9E878D91E8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6931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97BC6BC-FCCF-4035-B522-792DA2EB4FCC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36EDA751-9BE6-402F-ADB0-9FB4CD24CA98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1" name="Picture Placeholder 22">
            <a:extLst>
              <a:ext uri="{FF2B5EF4-FFF2-40B4-BE49-F238E27FC236}">
                <a16:creationId xmlns:a16="http://schemas.microsoft.com/office/drawing/2014/main" id="{F62FB39F-C8B6-4D33-9D64-CD081FEA6D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77566" y="387567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FD072E5-6B6F-0FC9-5292-5F22C98F4A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8813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660F7EF0-9E80-47B6-BA1C-0A8975B5B99B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87E70D84-CA57-4A62-A85F-13AACCB4B371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9" name="Picture Placeholder 13">
            <a:extLst>
              <a:ext uri="{FF2B5EF4-FFF2-40B4-BE49-F238E27FC236}">
                <a16:creationId xmlns:a16="http://schemas.microsoft.com/office/drawing/2014/main" id="{292C2F56-A34B-4793-B59C-B12929704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8002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8FC9DDD-C30C-A41F-2268-639ABD38E1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5315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ED89E262-300D-4549-BAE2-2AA6359CD5BD}"/>
              </a:ext>
            </a:extLst>
          </p:cNvPr>
          <p:cNvSpPr>
            <a:spLocks noChangeAspect="1"/>
          </p:cNvSpPr>
          <p:nvPr userDrawn="1"/>
        </p:nvSpPr>
        <p:spPr>
          <a:xfrm>
            <a:off x="-469834" y="3613201"/>
            <a:ext cx="3670234" cy="363484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4C4992B1-A515-422C-BCE7-79A9CFA6DBB3}"/>
              </a:ext>
            </a:extLst>
          </p:cNvPr>
          <p:cNvSpPr>
            <a:spLocks noChangeAspect="1"/>
          </p:cNvSpPr>
          <p:nvPr userDrawn="1"/>
        </p:nvSpPr>
        <p:spPr>
          <a:xfrm>
            <a:off x="-382986" y="3705513"/>
            <a:ext cx="3480351" cy="3446791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AA559C4-4573-4F1C-BFBA-03E905C2825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00536" y="3878440"/>
            <a:ext cx="3099286" cy="3099286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BAD1DBB-EB2F-2BC5-C526-A0D762F1C7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7102" y="1025165"/>
            <a:ext cx="7482997" cy="5505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99997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8" name="Picture Placeholder 48">
            <a:extLst>
              <a:ext uri="{FF2B5EF4-FFF2-40B4-BE49-F238E27FC236}">
                <a16:creationId xmlns:a16="http://schemas.microsoft.com/office/drawing/2014/main" id="{D7211C63-4E70-45D7-BCDB-296FA08250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5287" y="3860828"/>
            <a:ext cx="3135814" cy="3135814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07D6500-0B99-1989-4E7B-0E202D6104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50672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5">
            <a:extLst>
              <a:ext uri="{FF2B5EF4-FFF2-40B4-BE49-F238E27FC236}">
                <a16:creationId xmlns:a16="http://schemas.microsoft.com/office/drawing/2014/main" id="{9E995809-9436-4F21-A643-F2954160E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2557" y="3875512"/>
            <a:ext cx="3139355" cy="313935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7BB6B69-5B9A-CA4C-A249-6DA254065C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27411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6">
            <a:extLst>
              <a:ext uri="{FF2B5EF4-FFF2-40B4-BE49-F238E27FC236}">
                <a16:creationId xmlns:a16="http://schemas.microsoft.com/office/drawing/2014/main" id="{AF17F5CB-58E7-4AA1-BB08-68518425C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748" y="3871619"/>
            <a:ext cx="3139355" cy="313935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2BBE753-ADAA-0430-7AD6-5901C52AE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8907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53">
            <a:extLst>
              <a:ext uri="{FF2B5EF4-FFF2-40B4-BE49-F238E27FC236}">
                <a16:creationId xmlns:a16="http://schemas.microsoft.com/office/drawing/2014/main" id="{1E7961BA-891F-4CAC-99A0-C091EA5DF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74"/>
          <a:stretch/>
        </p:blipFill>
        <p:spPr>
          <a:xfrm>
            <a:off x="-193671" y="3870993"/>
            <a:ext cx="3117846" cy="311784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8703869-38FC-F3B5-2F60-02E18224CB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65338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110" descr="A group of people on a street&#10;&#10;Description automatically generated with low confidence">
            <a:extLst>
              <a:ext uri="{FF2B5EF4-FFF2-40B4-BE49-F238E27FC236}">
                <a16:creationId xmlns:a16="http://schemas.microsoft.com/office/drawing/2014/main" id="{225F5785-36E8-4012-ADBF-807C1A3DB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3302" y="387407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10BA12C-165A-FE0A-6120-11BB48485D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77495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>
            <a:extLst>
              <a:ext uri="{FF2B5EF4-FFF2-40B4-BE49-F238E27FC236}">
                <a16:creationId xmlns:a16="http://schemas.microsoft.com/office/drawing/2014/main" id="{71BF89A0-1ED4-4B9E-ADA5-5D2253BD0E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8" y="-1"/>
            <a:ext cx="7961613" cy="6862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A884EDE-ACDB-3941-4330-21644ECF7D9B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2B2B31D-DABA-5CB7-68B2-7CFBE3BA5B7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247349-90E0-CF60-BB46-5964BE304F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8B68797-4261-4AD2-BDCA-E3FCE036785E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20672F8-36CB-6414-5624-482016C563A7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08025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00" descr="A picture containing person&#10;&#10;Description automatically generated">
            <a:extLst>
              <a:ext uri="{FF2B5EF4-FFF2-40B4-BE49-F238E27FC236}">
                <a16:creationId xmlns:a16="http://schemas.microsoft.com/office/drawing/2014/main" id="{B11D5694-5DEE-4DB6-BAD5-386B1EF1DC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01572" y="388794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09135C0-6707-3A75-A0C5-01ECF32106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081743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115">
            <a:extLst>
              <a:ext uri="{FF2B5EF4-FFF2-40B4-BE49-F238E27FC236}">
                <a16:creationId xmlns:a16="http://schemas.microsoft.com/office/drawing/2014/main" id="{4AB86334-66A0-49E3-9BC7-D268DD2B8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36037" y="3883114"/>
            <a:ext cx="3188242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32B4B73-92A8-C783-C4B1-D9998782F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55500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05">
            <a:extLst>
              <a:ext uri="{FF2B5EF4-FFF2-40B4-BE49-F238E27FC236}">
                <a16:creationId xmlns:a16="http://schemas.microsoft.com/office/drawing/2014/main" id="{3431807D-63FE-497C-BD67-8A68B9173F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9847395">
            <a:off x="-192047" y="387054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8E67403-4AD9-EB7E-D1B2-63ACB847B2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817201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5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8BA5FB57-078F-4B47-AF95-640ACAB77F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4412" y="3876776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646ED42-E1A3-3FD7-D0B8-9B9C81788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196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68" descr="A picture containing tree, outdoor, person, dancer&#10;&#10;Description automatically generated">
            <a:extLst>
              <a:ext uri="{FF2B5EF4-FFF2-40B4-BE49-F238E27FC236}">
                <a16:creationId xmlns:a16="http://schemas.microsoft.com/office/drawing/2014/main" id="{F711B68A-6DF4-479C-AE44-0AA34B15B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6192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4C651D4-73D0-EF38-125D-D4D76D133A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13422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49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935FA9BF-2295-4B29-BC3E-3C8AF72F3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12"/>
          <a:stretch/>
        </p:blipFill>
        <p:spPr>
          <a:xfrm>
            <a:off x="-191559" y="3880025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B624BD3-5D9D-9A68-D054-D72F29D00F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60790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54">
            <a:extLst>
              <a:ext uri="{FF2B5EF4-FFF2-40B4-BE49-F238E27FC236}">
                <a16:creationId xmlns:a16="http://schemas.microsoft.com/office/drawing/2014/main" id="{E722BDB4-AFBC-4CF8-9637-2C7A1C096B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185" y="390306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D1E3C-24E4-91FA-A71B-9704F1F858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031009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3" name="Picture Placeholder 327">
            <a:extLst>
              <a:ext uri="{FF2B5EF4-FFF2-40B4-BE49-F238E27FC236}">
                <a16:creationId xmlns:a16="http://schemas.microsoft.com/office/drawing/2014/main" id="{86EC53AA-B894-44D7-AF2F-06DC709970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1965" y="387035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01E42B4-C538-6E1A-BE13-69844A8B63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47278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22">
            <a:extLst>
              <a:ext uri="{FF2B5EF4-FFF2-40B4-BE49-F238E27FC236}">
                <a16:creationId xmlns:a16="http://schemas.microsoft.com/office/drawing/2014/main" id="{F0503EE0-A034-4D08-A44B-F3FAD7DB1B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92047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70712F7-9173-6E59-504E-ED050EE638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39911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312">
            <a:extLst>
              <a:ext uri="{FF2B5EF4-FFF2-40B4-BE49-F238E27FC236}">
                <a16:creationId xmlns:a16="http://schemas.microsoft.com/office/drawing/2014/main" id="{BD24E543-1458-43DD-BFC5-0D7FF1B21D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91559" y="3886289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A61808C-50B7-D7DB-86F0-58AA14567F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0339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>
            <a:extLst>
              <a:ext uri="{FF2B5EF4-FFF2-40B4-BE49-F238E27FC236}">
                <a16:creationId xmlns:a16="http://schemas.microsoft.com/office/drawing/2014/main" id="{2537D922-E4E8-49DC-B9E7-B6F010A501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6787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91A12299-FFD0-456E-A436-9898388F9DD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0144" b="82297" l="107" r="62073">
                        <a14:foregroundMark x1="107" y1="47608" x2="1709" y2="56459"/>
                        <a14:foregroundMark x1="12738" y1="64682" x2="43590" y2="75957"/>
                        <a14:foregroundMark x1="2350" y1="60885" x2="4250" y2="61579"/>
                        <a14:foregroundMark x1="43590" y1="75957" x2="56517" y2="78230"/>
                        <a14:foregroundMark x1="5401" y1="64408" x2="13248" y2="82297"/>
                        <a14:foregroundMark x1="37607" y1="30263" x2="39957" y2="35526"/>
                        <a14:foregroundMark x1="58761" y1="38517" x2="58226" y2="41986"/>
                        <a14:foregroundMark x1="58994" y1="48565" x2="58974" y2="49880"/>
                        <a14:foregroundMark x1="59025" y1="46522" x2="59019" y2="46890"/>
                        <a14:foregroundMark x1="59081" y1="42823" x2="59062" y2="44106"/>
                        <a14:foregroundMark x1="60897" y1="52273" x2="60897" y2="58732"/>
                        <a14:foregroundMark x1="62073" y1="66148" x2="55769" y2="75239"/>
                        <a14:foregroundMark x1="55769" y1="75239" x2="55342" y2="75598"/>
                        <a14:foregroundMark x1="19017" y1="60287" x2="26068" y2="60526"/>
                        <a14:foregroundMark x1="26068" y1="60526" x2="35043" y2="60167"/>
                        <a14:foregroundMark x1="35043" y1="60167" x2="35470" y2="60048"/>
                        <a14:backgroundMark x1="3526" y1="48565" x2="6197" y2="57536"/>
                        <a14:backgroundMark x1="50962" y1="54067" x2="50855" y2="64952"/>
                        <a14:backgroundMark x1="50855" y1="64952" x2="50855" y2="64952"/>
                        <a14:backgroundMark x1="58761" y1="44019" x2="58226" y2="46292"/>
                        <a14:backgroundMark x1="58761" y1="46651" x2="58761" y2="46651"/>
                        <a14:backgroundMark x1="58761" y1="46890" x2="58761" y2="48565"/>
                        <a14:backgroundMark x1="534" y1="62919" x2="2350" y2="64833"/>
                        <a14:backgroundMark x1="4487" y1="63278" x2="5662" y2="64115"/>
                        <a14:backgroundMark x1="4060" y1="62560" x2="5342" y2="62679"/>
                        <a14:backgroundMark x1="5449" y1="64593" x2="5449" y2="64593"/>
                        <a14:backgroundMark x1="5983" y1="62201" x2="5449" y2="64474"/>
                        <a14:backgroundMark x1="6624" y1="62560" x2="11432" y2="63995"/>
                        <a14:backgroundMark x1="12714" y1="62201" x2="13782" y2="63995"/>
                        <a14:backgroundMark x1="14850" y1="63038" x2="20513" y2="63158"/>
                        <a14:backgroundMark x1="17968" y1="62097" x2="19444" y2="62201"/>
                        <a14:backgroundMark x1="21304" y1="62105" x2="21154" y2="62440"/>
                        <a14:backgroundMark x1="22543" y1="62081" x2="23397" y2="62799"/>
                        <a14:backgroundMark x1="26380" y1="62202" x2="26923" y2="63158"/>
                        <a14:backgroundMark x1="25852" y1="62259" x2="27671" y2="63278"/>
                        <a14:backgroundMark x1="29292" y1="62086" x2="30449" y2="62919"/>
                        <a14:backgroundMark x1="33883" y1="62253" x2="35363" y2="63038"/>
                        <a14:backgroundMark x1="34081" y1="63278" x2="35256" y2="63278"/>
                        <a14:backgroundMark x1="31554" y1="61996" x2="32372" y2="63278"/>
                        <a14:backgroundMark x1="31410" y1="62560" x2="31303" y2="63278"/>
                        <a14:backgroundMark x1="29382" y1="58705" x2="27671" y2="58254"/>
                        <a14:backgroundMark x1="38034" y1="57656" x2="36218" y2="58134"/>
                        <a14:backgroundMark x1="33120" y1="57416" x2="33120" y2="57416"/>
                        <a14:backgroundMark x1="47543" y1="65789" x2="48825" y2="68301"/>
                        <a14:backgroundMark x1="60791" y1="66148" x2="60791" y2="66148"/>
                        <a14:backgroundMark x1="40705" y1="65909" x2="41667" y2="674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007" r="33283" b="16293"/>
          <a:stretch/>
        </p:blipFill>
        <p:spPr bwMode="auto">
          <a:xfrm>
            <a:off x="1" y="1989252"/>
            <a:ext cx="5123072" cy="375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86B1061-E142-E6C7-C802-3716D57A0C0D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3B789AF-35E9-607A-515E-5B1F6F63F87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F524BB0-9A66-B961-AE78-14C217054B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7886AD-E191-5A69-184A-2C0960272511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5BC4838-DE35-DC7E-CE6A-25AAA4F746BA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49985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17">
            <a:extLst>
              <a:ext uri="{FF2B5EF4-FFF2-40B4-BE49-F238E27FC236}">
                <a16:creationId xmlns:a16="http://schemas.microsoft.com/office/drawing/2014/main" id="{E0B8574E-2138-4BD8-A820-97327E977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0971" y="3902654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5664E1B-5828-3263-7BD0-4A0D767CDC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9277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7F3B96B-D34C-4FD9-89B3-9BBB8D4630B0}"/>
              </a:ext>
            </a:extLst>
          </p:cNvPr>
          <p:cNvSpPr>
            <a:spLocks noChangeAspect="1"/>
          </p:cNvSpPr>
          <p:nvPr userDrawn="1"/>
        </p:nvSpPr>
        <p:spPr>
          <a:xfrm>
            <a:off x="-460054" y="362286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9643E94-29BB-42B7-B174-B2C4B6EBD4E0}"/>
              </a:ext>
            </a:extLst>
          </p:cNvPr>
          <p:cNvSpPr>
            <a:spLocks noChangeAspect="1"/>
          </p:cNvSpPr>
          <p:nvPr userDrawn="1"/>
        </p:nvSpPr>
        <p:spPr>
          <a:xfrm>
            <a:off x="-370559" y="371256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3" descr="A picture containing tree, grass, outdoor, mammal&#10;&#10;Description automatically generated">
            <a:extLst>
              <a:ext uri="{FF2B5EF4-FFF2-40B4-BE49-F238E27FC236}">
                <a16:creationId xmlns:a16="http://schemas.microsoft.com/office/drawing/2014/main" id="{29386B9E-0158-4D2E-B90D-4F7D021EE3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566" y="3878573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0FC272-B4D7-C3DB-32A2-8393DB6D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382888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E68866A0-61A3-4DB4-B7EE-6043156C6372}"/>
              </a:ext>
            </a:extLst>
          </p:cNvPr>
          <p:cNvSpPr>
            <a:spLocks noChangeAspect="1"/>
          </p:cNvSpPr>
          <p:nvPr userDrawn="1"/>
        </p:nvSpPr>
        <p:spPr>
          <a:xfrm>
            <a:off x="-469274" y="361093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02A50911-9C2E-494B-B54C-CE2867FB3204}"/>
              </a:ext>
            </a:extLst>
          </p:cNvPr>
          <p:cNvSpPr>
            <a:spLocks noChangeAspect="1"/>
          </p:cNvSpPr>
          <p:nvPr userDrawn="1"/>
        </p:nvSpPr>
        <p:spPr>
          <a:xfrm>
            <a:off x="-368689" y="3719104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78" descr="A body of water with trees and buildings in the background&#10;&#10;Description automatically generated">
            <a:extLst>
              <a:ext uri="{FF2B5EF4-FFF2-40B4-BE49-F238E27FC236}">
                <a16:creationId xmlns:a16="http://schemas.microsoft.com/office/drawing/2014/main" id="{022707BC-008E-4029-900F-DB8EBCC1B4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2047" y="3885112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D35E472-B82B-99EB-64F7-EB85722BEA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05447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04EDDBFA-5AA6-4996-BA32-11DF93FD0E86}"/>
              </a:ext>
            </a:extLst>
          </p:cNvPr>
          <p:cNvSpPr>
            <a:spLocks noChangeAspect="1"/>
          </p:cNvSpPr>
          <p:nvPr userDrawn="1"/>
        </p:nvSpPr>
        <p:spPr>
          <a:xfrm>
            <a:off x="-470841" y="3607636"/>
            <a:ext cx="3679543" cy="3644064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B4893A3D-A2D7-4B92-AD6B-A61E574C239F}"/>
              </a:ext>
            </a:extLst>
          </p:cNvPr>
          <p:cNvSpPr>
            <a:spLocks noChangeAspect="1"/>
          </p:cNvSpPr>
          <p:nvPr userDrawn="1"/>
        </p:nvSpPr>
        <p:spPr>
          <a:xfrm>
            <a:off x="-386505" y="3706403"/>
            <a:ext cx="3489178" cy="3455533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2" name="Picture Placeholder 83" descr="A bridge over a river with a building in the background&#10;&#10;Description automatically generated with low confidence">
            <a:extLst>
              <a:ext uri="{FF2B5EF4-FFF2-40B4-BE49-F238E27FC236}">
                <a16:creationId xmlns:a16="http://schemas.microsoft.com/office/drawing/2014/main" id="{F1C526DE-E9AC-4549-AE40-6C080ADC9A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9"/>
          <a:stretch/>
        </p:blipFill>
        <p:spPr>
          <a:xfrm>
            <a:off x="-189339" y="3897277"/>
            <a:ext cx="3099286" cy="3099286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A71221B-76C8-074C-0C3B-A693B798D3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528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BOTTOM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8803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D5817B84-D42F-4817-88A3-91A405EA8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987" y="1560753"/>
            <a:ext cx="5505467" cy="4799638"/>
          </a:xfrm>
          <a:prstGeom prst="rect">
            <a:avLst/>
          </a:prstGeom>
          <a:effectLst/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31547BC-07F2-4A6E-8892-F016BBC5308B}"/>
              </a:ext>
            </a:extLst>
          </p:cNvPr>
          <p:cNvSpPr/>
          <p:nvPr userDrawn="1"/>
        </p:nvSpPr>
        <p:spPr>
          <a:xfrm rot="10800000">
            <a:off x="2343782" y="1280586"/>
            <a:ext cx="9170746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266737-6DAB-4245-94A7-5AD68D9D92C4}"/>
              </a:ext>
            </a:extLst>
          </p:cNvPr>
          <p:cNvSpPr/>
          <p:nvPr userDrawn="1"/>
        </p:nvSpPr>
        <p:spPr>
          <a:xfrm rot="5400000">
            <a:off x="10655444" y="1798164"/>
            <a:ext cx="1494204" cy="725956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312E38-2274-4171-9B49-BBF653B8FC34}"/>
              </a:ext>
            </a:extLst>
          </p:cNvPr>
          <p:cNvSpPr/>
          <p:nvPr userDrawn="1"/>
        </p:nvSpPr>
        <p:spPr>
          <a:xfrm rot="10800000">
            <a:off x="2343781" y="1286266"/>
            <a:ext cx="9064447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31A0FA-E59C-4787-BF11-5DCBBAE4620D}"/>
              </a:ext>
            </a:extLst>
          </p:cNvPr>
          <p:cNvSpPr/>
          <p:nvPr userDrawn="1"/>
        </p:nvSpPr>
        <p:spPr>
          <a:xfrm rot="5400000">
            <a:off x="10719525" y="3652916"/>
            <a:ext cx="1494204" cy="620197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99C680E-1315-4B23-8274-972ED93DF838}"/>
              </a:ext>
            </a:extLst>
          </p:cNvPr>
          <p:cNvSpPr/>
          <p:nvPr userDrawn="1"/>
        </p:nvSpPr>
        <p:spPr>
          <a:xfrm rot="10800000">
            <a:off x="2343781" y="1273207"/>
            <a:ext cx="896616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65856E8-B40F-467F-A9A9-8E7A86871732}"/>
              </a:ext>
            </a:extLst>
          </p:cNvPr>
          <p:cNvSpPr/>
          <p:nvPr userDrawn="1"/>
        </p:nvSpPr>
        <p:spPr>
          <a:xfrm rot="5400000">
            <a:off x="10770225" y="5472606"/>
            <a:ext cx="1494204" cy="522522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46773015-87F9-4F63-A42F-529A3B2610AB}"/>
              </a:ext>
            </a:extLst>
          </p:cNvPr>
          <p:cNvSpPr>
            <a:spLocks noChangeAspect="1"/>
          </p:cNvSpPr>
          <p:nvPr userDrawn="1"/>
        </p:nvSpPr>
        <p:spPr>
          <a:xfrm>
            <a:off x="-469834" y="3613201"/>
            <a:ext cx="3670234" cy="363484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98CA7951-F87D-46AC-B63B-781567473D72}"/>
              </a:ext>
            </a:extLst>
          </p:cNvPr>
          <p:cNvSpPr>
            <a:spLocks noChangeAspect="1"/>
          </p:cNvSpPr>
          <p:nvPr userDrawn="1"/>
        </p:nvSpPr>
        <p:spPr>
          <a:xfrm>
            <a:off x="-382986" y="3705513"/>
            <a:ext cx="3480351" cy="3446791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8E38B319-A30A-4CC5-A1A0-54DBF80AC8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00536" y="3878440"/>
            <a:ext cx="3099286" cy="3099286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E178D3A-ADC5-21B6-51FD-6373EB089F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181" y="1516076"/>
            <a:ext cx="7681858" cy="4865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86314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61626A20-34C7-46C8-955A-18B778B8B0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1123405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12173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1156344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>
            <a:extLst>
              <a:ext uri="{FF2B5EF4-FFF2-40B4-BE49-F238E27FC236}">
                <a16:creationId xmlns:a16="http://schemas.microsoft.com/office/drawing/2014/main" id="{EF157108-623E-4ACD-B83E-53F45F4CC5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1034868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493123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40263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F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53CDBBBC-7D2B-45FA-AC5E-CABDB93615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5" y="0"/>
            <a:ext cx="104511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9744704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7F563FC8-90AB-4090-A385-95D99E6CAC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1"/>
            <a:ext cx="9675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109831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>
            <a:extLst>
              <a:ext uri="{FF2B5EF4-FFF2-40B4-BE49-F238E27FC236}">
                <a16:creationId xmlns:a16="http://schemas.microsoft.com/office/drawing/2014/main" id="{AA97BC7D-F639-4EEC-9C9A-4AF496C18A7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9460"/>
          <a:stretch/>
        </p:blipFill>
        <p:spPr bwMode="auto">
          <a:xfrm>
            <a:off x="0" y="1023"/>
            <a:ext cx="6467475" cy="685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2283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OTH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>
            <a:extLst>
              <a:ext uri="{FF2B5EF4-FFF2-40B4-BE49-F238E27FC236}">
                <a16:creationId xmlns:a16="http://schemas.microsoft.com/office/drawing/2014/main" id="{AA636C35-A380-4E44-A95F-3CE5888924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27" y="0"/>
            <a:ext cx="6977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4651BD9E-62BA-477E-B88C-39A2153FF55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9826" b="99187" l="685" r="58904">
                        <a14:foregroundMark x1="15868" y1="49826" x2="16438" y2="51684"/>
                        <a14:foregroundMark x1="4680" y1="79559" x2="1027" y2="94774"/>
                        <a14:foregroundMark x1="8562" y1="96516" x2="31279" y2="99419"/>
                        <a14:foregroundMark x1="31279" y1="99419" x2="39612" y2="98490"/>
                        <a14:foregroundMark x1="45662" y1="98490" x2="47831" y2="98839"/>
                        <a14:foregroundMark x1="15639" y1="52846" x2="15639" y2="52846"/>
                        <a14:foregroundMark x1="18151" y1="50871" x2="18151" y2="50871"/>
                        <a14:foregroundMark x1="18151" y1="50871" x2="16553" y2="51916"/>
                        <a14:foregroundMark x1="55708" y1="54239" x2="55936" y2="61324"/>
                        <a14:foregroundMark x1="55936" y1="61324" x2="55936" y2="61324"/>
                        <a14:foregroundMark x1="57306" y1="57027" x2="58904" y2="61208"/>
                        <a14:backgroundMark x1="9247" y1="51336" x2="8904" y2="67131"/>
                        <a14:backgroundMark x1="26826" y1="53891" x2="42352" y2="66434"/>
                        <a14:backgroundMark x1="28653" y1="71429" x2="36644" y2="73055"/>
                        <a14:backgroundMark x1="28082" y1="71196" x2="28082" y2="711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125" r="49980" b="-1"/>
          <a:stretch/>
        </p:blipFill>
        <p:spPr bwMode="auto">
          <a:xfrm>
            <a:off x="-11668" y="3295973"/>
            <a:ext cx="3489895" cy="355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E3CB2D-33E7-3770-FD9C-76BEF57794F7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1B29E09-FC03-3076-917B-24F7614D1B2A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E0091BE-EC18-9A9C-92B7-9332277FFE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7E80D6E-DA7B-E1C7-2474-71EC0D45D44E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256DFC3-DE7C-E3EF-1CFE-42231303A97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2850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>
            <a:extLst>
              <a:ext uri="{FF2B5EF4-FFF2-40B4-BE49-F238E27FC236}">
                <a16:creationId xmlns:a16="http://schemas.microsoft.com/office/drawing/2014/main" id="{E838F6C3-A764-4DD2-809C-83EBC13FC1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630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689926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AS 4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4C002E9-D804-4734-B1B7-59C8F235BC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20530"/>
            <a:ext cx="73532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907487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950464BC-E676-4473-AA4E-695A7F65F3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85991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7306521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5D9B428A-4E64-4372-8B8D-A6F3A8874A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6" y="0"/>
            <a:ext cx="790662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1598715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SA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4470B47E-9CEF-4EB0-89C8-E0E9D4A083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972" y="0"/>
            <a:ext cx="609502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6859277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>
            <a:extLst>
              <a:ext uri="{FF2B5EF4-FFF2-40B4-BE49-F238E27FC236}">
                <a16:creationId xmlns:a16="http://schemas.microsoft.com/office/drawing/2014/main" id="{81300818-F83F-4F28-89A7-6A1DAF44D6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55" y="12696"/>
            <a:ext cx="81613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56845298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6" name="Picture 10">
            <a:extLst>
              <a:ext uri="{FF2B5EF4-FFF2-40B4-BE49-F238E27FC236}">
                <a16:creationId xmlns:a16="http://schemas.microsoft.com/office/drawing/2014/main" id="{A72A63A2-5C12-428F-914D-351292B9B9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874718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8096826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WE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F0D016DA-F1B8-439D-911C-4F5FC6CDC98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604" y="-12696"/>
            <a:ext cx="62372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1231681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1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>
            <a:extLst>
              <a:ext uri="{FF2B5EF4-FFF2-40B4-BE49-F238E27FC236}">
                <a16:creationId xmlns:a16="http://schemas.microsoft.com/office/drawing/2014/main" id="{68893B41-FB8C-4261-B9F4-CC4AD3A47B8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2696"/>
            <a:ext cx="70675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601684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2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>
            <a:extLst>
              <a:ext uri="{FF2B5EF4-FFF2-40B4-BE49-F238E27FC236}">
                <a16:creationId xmlns:a16="http://schemas.microsoft.com/office/drawing/2014/main" id="{EFCEC280-CD01-4909-9A1A-F70FC4CDF5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5356" y="0"/>
            <a:ext cx="70892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642456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INER INTRODUCT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5313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Trainer Nam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Trainer Pict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C4AB622-BEA1-4BAE-8A6C-4875AB9345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454424" y="3834042"/>
            <a:ext cx="3449941" cy="3449941"/>
            <a:chOff x="3551608" y="-395567"/>
            <a:chExt cx="5088783" cy="503971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95EF68D-9C29-40C8-B5A9-999B1BA11A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3246" y="-265199"/>
              <a:ext cx="4825508" cy="47789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0FEAF64-A9F5-44C6-8A82-9DD31AF13B8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551608" y="-395567"/>
              <a:ext cx="5088783" cy="5039714"/>
            </a:xfrm>
            <a:prstGeom prst="donut">
              <a:avLst>
                <a:gd name="adj" fmla="val 1425"/>
              </a:avLst>
            </a:prstGeom>
            <a:solidFill>
              <a:srgbClr val="BF3B4B">
                <a:alpha val="3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66AE1110-5FCD-457F-A4F0-AB9CB652A6F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83246" y="-265199"/>
              <a:ext cx="4825508" cy="4778978"/>
            </a:xfrm>
            <a:prstGeom prst="donut">
              <a:avLst>
                <a:gd name="adj" fmla="val 2682"/>
              </a:avLst>
            </a:prstGeom>
            <a:solidFill>
              <a:srgbClr val="BF3B4B">
                <a:alpha val="6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F372FD0B-3A4C-49AF-A3E6-3F79D14527E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-193466" y="4086782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Career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4C9A0D-85D6-4749-99E3-B8A1C8FE8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533" y="1053295"/>
            <a:ext cx="7950319" cy="2533251"/>
          </a:xfrm>
          <a:prstGeom prst="rect">
            <a:avLst/>
          </a:prstGeom>
        </p:spPr>
        <p:txBody>
          <a:bodyPr/>
          <a:lstStyle>
            <a:lvl1pPr>
              <a:defRPr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Personal / Career Inform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566B10A-67D6-4817-803D-E293C04AF6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03451" y="3864441"/>
            <a:ext cx="3449941" cy="3449941"/>
            <a:chOff x="-654135" y="-660388"/>
            <a:chExt cx="5517335" cy="546413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CAC2289-7B4D-4061-A304-5009D7A95F2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482527" y="-519041"/>
              <a:ext cx="5193418" cy="51433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E0560CA4-511A-4CC9-A2EB-9EC664CB48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654135" y="-660388"/>
              <a:ext cx="5517335" cy="5464134"/>
            </a:xfrm>
            <a:prstGeom prst="donut">
              <a:avLst>
                <a:gd name="adj" fmla="val 1425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9469479B-1D7F-4801-9263-68F08B3B77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511411" y="-519041"/>
              <a:ext cx="5231889" cy="5181440"/>
            </a:xfrm>
            <a:prstGeom prst="donut">
              <a:avLst>
                <a:gd name="adj" fmla="val 2682"/>
              </a:avLst>
            </a:prstGeom>
            <a:gradFill flip="none" rotWithShape="1">
              <a:gsLst>
                <a:gs pos="0">
                  <a:srgbClr val="FFC000"/>
                </a:gs>
                <a:gs pos="94000">
                  <a:srgbClr val="FFC000">
                    <a:alpha val="41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D5FFDEC1-D300-4ED7-B7D0-55E38BB90D5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564409" y="4119917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Career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3E76C6-36BA-4547-9FFB-0683FA3373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86426" y="3931824"/>
            <a:ext cx="3449941" cy="3449941"/>
            <a:chOff x="-654135" y="-660388"/>
            <a:chExt cx="5517335" cy="546413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647156D-F6B1-42E9-890E-7C825F7B6D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482527" y="-519041"/>
              <a:ext cx="5193418" cy="51433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DB1E1FCF-3A59-4E2E-8F1E-A8F8977901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654135" y="-660388"/>
              <a:ext cx="5517335" cy="5464134"/>
            </a:xfrm>
            <a:prstGeom prst="donut">
              <a:avLst>
                <a:gd name="adj" fmla="val 1425"/>
              </a:avLst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72DC2287-E68A-4723-B49D-4DA202465EE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511411" y="-519041"/>
              <a:ext cx="5231889" cy="5181440"/>
            </a:xfrm>
            <a:prstGeom prst="donut">
              <a:avLst>
                <a:gd name="adj" fmla="val 2682"/>
              </a:avLst>
            </a:prstGeom>
            <a:gradFill flip="none" rotWithShape="1">
              <a:gsLst>
                <a:gs pos="0">
                  <a:srgbClr val="00AEEF"/>
                </a:gs>
                <a:gs pos="94000">
                  <a:srgbClr val="00AEEF">
                    <a:alpha val="40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2B2BF270-6D30-4E83-A9D8-5E4566461AAB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351369" y="4195324"/>
            <a:ext cx="2936133" cy="2936133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Career picture</a:t>
            </a:r>
          </a:p>
        </p:txBody>
      </p:sp>
    </p:spTree>
    <p:extLst>
      <p:ext uri="{BB962C8B-B14F-4D97-AF65-F5344CB8AC3E}">
        <p14:creationId xmlns:p14="http://schemas.microsoft.com/office/powerpoint/2010/main" val="29274202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OTHER 3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56BC8694-75DC-435B-9304-099B83C03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1" y="-3175"/>
            <a:ext cx="10033000" cy="686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6381936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ACTION PAGE DHL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>
            <a:extLst>
              <a:ext uri="{FF2B5EF4-FFF2-40B4-BE49-F238E27FC236}">
                <a16:creationId xmlns:a16="http://schemas.microsoft.com/office/drawing/2014/main" id="{E15AE0CA-4DE5-4930-BAC1-9ABA4B02F59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039"/>
          <a:stretch/>
        </p:blipFill>
        <p:spPr bwMode="auto">
          <a:xfrm>
            <a:off x="0" y="-12696"/>
            <a:ext cx="79536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 rot="10800000">
            <a:off x="-15355" y="4476750"/>
            <a:ext cx="12220054" cy="23812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91880" y="12696"/>
            <a:ext cx="11756280" cy="9695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39D59EF-C01D-4754-8F53-DF4E4945D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7934" y="502648"/>
            <a:ext cx="4595233" cy="3592898"/>
          </a:xfrm>
          <a:prstGeom prst="rect">
            <a:avLst/>
          </a:prstGeom>
          <a:effectLst/>
        </p:spPr>
      </p:pic>
      <p:pic>
        <p:nvPicPr>
          <p:cNvPr id="10" name="Picture 9" descr="Shape, circle&#10;&#10;Description automatically generated">
            <a:extLst>
              <a:ext uri="{FF2B5EF4-FFF2-40B4-BE49-F238E27FC236}">
                <a16:creationId xmlns:a16="http://schemas.microsoft.com/office/drawing/2014/main" id="{7E8BE7B3-1AB1-4381-BEDA-DEFDBAD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475481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M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20129" y="1376057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film na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536394" y="485551"/>
            <a:ext cx="173316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FILM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D31DB22-34D2-415B-AAF3-98308CE2E5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1625" y="2447127"/>
            <a:ext cx="10601325" cy="4341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bg1">
              <a:lumMod val="75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1" name="Picture Placeholder 10" descr="Diagram&#10;&#10;Description automatically generated">
            <a:extLst>
              <a:ext uri="{FF2B5EF4-FFF2-40B4-BE49-F238E27FC236}">
                <a16:creationId xmlns:a16="http://schemas.microsoft.com/office/drawing/2014/main" id="{3D2213D4-F05B-41A1-9792-8839EC5019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102350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A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16" descr="A group of people raising their hands&#10;&#10;Description automatically generated with medium confidence">
            <a:extLst>
              <a:ext uri="{FF2B5EF4-FFF2-40B4-BE49-F238E27FC236}">
                <a16:creationId xmlns:a16="http://schemas.microsoft.com/office/drawing/2014/main" id="{D58FC17E-4343-4A66-8DCF-A0AA254281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36606" y="2323047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8595960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8" name="Picture Placeholder 12" descr="A person wearing headphones and holding a glass of beer&#10;&#10;Description automatically generated with medium confidence">
            <a:extLst>
              <a:ext uri="{FF2B5EF4-FFF2-40B4-BE49-F238E27FC236}">
                <a16:creationId xmlns:a16="http://schemas.microsoft.com/office/drawing/2014/main" id="{54C6C8D7-A8D1-41D6-A073-0F1FCBA74F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8"/>
          <a:stretch/>
        </p:blipFill>
        <p:spPr>
          <a:xfrm>
            <a:off x="-639058" y="2309880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450463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30" name="Picture Placeholder 7">
            <a:extLst>
              <a:ext uri="{FF2B5EF4-FFF2-40B4-BE49-F238E27FC236}">
                <a16:creationId xmlns:a16="http://schemas.microsoft.com/office/drawing/2014/main" id="{0A6FF159-8155-4AC7-B0C8-4F8248DDE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63"/>
          <a:stretch/>
        </p:blipFill>
        <p:spPr>
          <a:xfrm>
            <a:off x="-623860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07920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3" name="Picture Placeholder 127">
            <a:extLst>
              <a:ext uri="{FF2B5EF4-FFF2-40B4-BE49-F238E27FC236}">
                <a16:creationId xmlns:a16="http://schemas.microsoft.com/office/drawing/2014/main" id="{745B3249-9840-401F-8B6E-9957F3E68C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94"/>
          <a:stretch/>
        </p:blipFill>
        <p:spPr>
          <a:xfrm>
            <a:off x="-644463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61729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37" descr="A picture containing person, sport, dancer, colorful&#10;&#10;Description automatically generated">
            <a:extLst>
              <a:ext uri="{FF2B5EF4-FFF2-40B4-BE49-F238E27FC236}">
                <a16:creationId xmlns:a16="http://schemas.microsoft.com/office/drawing/2014/main" id="{4A7875E8-45E8-4AB0-BAF3-2EA96ECA49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6560" y="2316829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153665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22" descr="A picture containing person&#10;&#10;Description automatically generated">
            <a:extLst>
              <a:ext uri="{FF2B5EF4-FFF2-40B4-BE49-F238E27FC236}">
                <a16:creationId xmlns:a16="http://schemas.microsoft.com/office/drawing/2014/main" id="{3CC4E0A8-6E4A-4188-93BF-5BF5BB59F7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2785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257997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32" descr="A group of people running&#10;&#10;Description automatically generated">
            <a:extLst>
              <a:ext uri="{FF2B5EF4-FFF2-40B4-BE49-F238E27FC236}">
                <a16:creationId xmlns:a16="http://schemas.microsoft.com/office/drawing/2014/main" id="{E8F50E11-BDD9-4689-9DC0-7A17376FE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905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73976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EST SPEAKER INTRODUCT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5313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Guest Speaker Nam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nl-NL"/>
              <a:t>Guest Speaker Picture</a:t>
            </a:r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F8A63C9F-6C43-BA6A-F4D8-9728BC977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98667" y="3418612"/>
            <a:ext cx="3826334" cy="3027050"/>
          </a:xfrm>
          <a:prstGeom prst="rect">
            <a:avLst/>
          </a:prstGeom>
          <a:effectLst/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4C9A0D-85D6-4749-99E3-B8A1C8FE8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177" y="1053295"/>
            <a:ext cx="7794675" cy="4976569"/>
          </a:xfrm>
          <a:prstGeom prst="roundRect">
            <a:avLst>
              <a:gd name="adj" fmla="val 4464"/>
            </a:avLst>
          </a:prstGeom>
          <a:solidFill>
            <a:srgbClr val="FFFFFF">
              <a:alpha val="54902"/>
            </a:srgbClr>
          </a:solidFill>
        </p:spPr>
        <p:txBody>
          <a:bodyPr/>
          <a:lstStyle>
            <a:lvl1pPr>
              <a:defRPr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Guest Speaker key points</a:t>
            </a:r>
          </a:p>
        </p:txBody>
      </p:sp>
    </p:spTree>
    <p:extLst>
      <p:ext uri="{BB962C8B-B14F-4D97-AF65-F5344CB8AC3E}">
        <p14:creationId xmlns:p14="http://schemas.microsoft.com/office/powerpoint/2010/main" val="133859167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115" descr="A person with his arms crossed&#10;&#10;Description automatically generated with low confidence">
            <a:extLst>
              <a:ext uri="{FF2B5EF4-FFF2-40B4-BE49-F238E27FC236}">
                <a16:creationId xmlns:a16="http://schemas.microsoft.com/office/drawing/2014/main" id="{B270CD26-81BF-4B49-80D1-F7BA27BFA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011147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05">
            <a:extLst>
              <a:ext uri="{FF2B5EF4-FFF2-40B4-BE49-F238E27FC236}">
                <a16:creationId xmlns:a16="http://schemas.microsoft.com/office/drawing/2014/main" id="{7E2B29AF-A8AF-4F10-8141-C9E9DCB50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2020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71602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4" name="Picture Placeholder 120" descr="A group of men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446A5102-6050-4F3E-B172-F44565CEC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8524" y="2323047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439099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10">
            <a:extLst>
              <a:ext uri="{FF2B5EF4-FFF2-40B4-BE49-F238E27FC236}">
                <a16:creationId xmlns:a16="http://schemas.microsoft.com/office/drawing/2014/main" id="{55C3F078-CE24-4D1A-9486-E980260B9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1358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74288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3" name="Picture Placeholder 341">
            <a:extLst>
              <a:ext uri="{FF2B5EF4-FFF2-40B4-BE49-F238E27FC236}">
                <a16:creationId xmlns:a16="http://schemas.microsoft.com/office/drawing/2014/main" id="{9A8927FA-857E-4E98-A171-4CFB0A6283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9737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366714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8" name="Picture Placeholder 355">
            <a:extLst>
              <a:ext uri="{FF2B5EF4-FFF2-40B4-BE49-F238E27FC236}">
                <a16:creationId xmlns:a16="http://schemas.microsoft.com/office/drawing/2014/main" id="{95E7CFCD-6A83-409B-9BB3-F865EA4226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40169" y="2316829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261903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4" name="Picture Placeholder 336">
            <a:extLst>
              <a:ext uri="{FF2B5EF4-FFF2-40B4-BE49-F238E27FC236}">
                <a16:creationId xmlns:a16="http://schemas.microsoft.com/office/drawing/2014/main" id="{36225AA7-1C9F-448C-AB15-08CAAF1D7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3053" y="23225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867747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1" name="Picture Placeholder 346" descr="A picture containing person, water sport, sport, swimming&#10;&#10;Description automatically generated">
            <a:extLst>
              <a:ext uri="{FF2B5EF4-FFF2-40B4-BE49-F238E27FC236}">
                <a16:creationId xmlns:a16="http://schemas.microsoft.com/office/drawing/2014/main" id="{6533F9B4-4AD2-4AC3-A26C-895C6964BA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0169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088745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rgbClr val="DB8993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1814483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pic>
        <p:nvPicPr>
          <p:cNvPr id="28" name="Picture Placeholder 95" descr="A picture containing dark&#10;&#10;Description automatically generated">
            <a:extLst>
              <a:ext uri="{FF2B5EF4-FFF2-40B4-BE49-F238E27FC236}">
                <a16:creationId xmlns:a16="http://schemas.microsoft.com/office/drawing/2014/main" id="{8A180B2A-BF2D-4FEB-9346-9B7C410B5A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38374" y="2309880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76357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51FEFDC-9DA7-4FC1-B7D9-8BB727FF2F80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67E74C-9453-4673-987C-9FBA427E175D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90" descr="A picture containing building, outdoor, blue, stone&#10;&#10;Description automatically generated">
            <a:extLst>
              <a:ext uri="{FF2B5EF4-FFF2-40B4-BE49-F238E27FC236}">
                <a16:creationId xmlns:a16="http://schemas.microsoft.com/office/drawing/2014/main" id="{20DD8E6A-F37D-4CEE-8B28-892B622179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52888" y="2282358"/>
            <a:ext cx="4854932" cy="4854932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7915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9FCFA18-B561-4716-AA7A-234D93CC1B70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</p:spTree>
    <p:extLst>
      <p:ext uri="{BB962C8B-B14F-4D97-AF65-F5344CB8AC3E}">
        <p14:creationId xmlns:p14="http://schemas.microsoft.com/office/powerpoint/2010/main" val="32686755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844944" y="2119087"/>
            <a:ext cx="5287504" cy="52365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893EF8D6-A115-4047-8577-7028A10BA11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accent5">
              <a:lumMod val="60000"/>
              <a:lumOff val="4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D7BC15F0-306F-41FC-BCBD-E3FB566B1DEF}"/>
              </a:ext>
            </a:extLst>
          </p:cNvPr>
          <p:cNvSpPr>
            <a:spLocks noChangeAspect="1"/>
          </p:cNvSpPr>
          <p:nvPr userDrawn="1"/>
        </p:nvSpPr>
        <p:spPr>
          <a:xfrm>
            <a:off x="-920630" y="2065427"/>
            <a:ext cx="5401195" cy="5349114"/>
          </a:xfrm>
          <a:prstGeom prst="donut">
            <a:avLst>
              <a:gd name="adj" fmla="val 2682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1C5B74-B955-4C64-8F6D-B642E084AD9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Circle: Hollow 27">
            <a:extLst>
              <a:ext uri="{FF2B5EF4-FFF2-40B4-BE49-F238E27FC236}">
                <a16:creationId xmlns:a16="http://schemas.microsoft.com/office/drawing/2014/main" id="{F0D09751-6084-4CDF-B09D-691E9DBFC24C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Circle: Hollow 28">
            <a:extLst>
              <a:ext uri="{FF2B5EF4-FFF2-40B4-BE49-F238E27FC236}">
                <a16:creationId xmlns:a16="http://schemas.microsoft.com/office/drawing/2014/main" id="{4831C287-6B5C-47D3-9CBB-0FF9C28403DD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B3905-AD27-4D1E-996D-309C9BD251C4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  <p:pic>
        <p:nvPicPr>
          <p:cNvPr id="21" name="Picture Placeholder 100">
            <a:extLst>
              <a:ext uri="{FF2B5EF4-FFF2-40B4-BE49-F238E27FC236}">
                <a16:creationId xmlns:a16="http://schemas.microsoft.com/office/drawing/2014/main" id="{A9F941BB-AD7F-4F8D-8489-E645C72B01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74706" y="2323047"/>
            <a:ext cx="4854932" cy="48549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687813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TRANSITION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0E8ABA0F-D3BB-49B7-B3CD-E87E12E9F4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069513" y="347491"/>
            <a:ext cx="7056750" cy="6250428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1D2AD36-65F1-4F18-A422-601C53B20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7450" y="5361832"/>
            <a:ext cx="4965699" cy="625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nl-NL"/>
              <a:t>Click to add activity nam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3A87970-CEE8-456E-B325-EBFE9EF164AF}"/>
              </a:ext>
            </a:extLst>
          </p:cNvPr>
          <p:cNvSpPr>
            <a:spLocks noChangeAspect="1"/>
          </p:cNvSpPr>
          <p:nvPr userDrawn="1"/>
        </p:nvSpPr>
        <p:spPr>
          <a:xfrm>
            <a:off x="-958717" y="2098999"/>
            <a:ext cx="5397554" cy="53455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Circle: Hollow 33">
            <a:extLst>
              <a:ext uri="{FF2B5EF4-FFF2-40B4-BE49-F238E27FC236}">
                <a16:creationId xmlns:a16="http://schemas.microsoft.com/office/drawing/2014/main" id="{43395294-4557-46A9-9919-F13E15CDE4E9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1922002"/>
            <a:ext cx="5695879" cy="5640956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Circle: Hollow 34">
            <a:extLst>
              <a:ext uri="{FF2B5EF4-FFF2-40B4-BE49-F238E27FC236}">
                <a16:creationId xmlns:a16="http://schemas.microsoft.com/office/drawing/2014/main" id="{4CC85DBD-7E11-4644-8662-540317DD574A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8" y="2094455"/>
            <a:ext cx="5401195" cy="5349114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7CA176-3BCE-4B88-AE48-244CC10CC53C}"/>
              </a:ext>
            </a:extLst>
          </p:cNvPr>
          <p:cNvSpPr txBox="1"/>
          <p:nvPr userDrawn="1"/>
        </p:nvSpPr>
        <p:spPr>
          <a:xfrm>
            <a:off x="8029171" y="4443486"/>
            <a:ext cx="31165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TIVITY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140EA6C-A7FA-4766-B89B-40730972C3CB}"/>
              </a:ext>
            </a:extLst>
          </p:cNvPr>
          <p:cNvSpPr>
            <a:spLocks noChangeAspect="1"/>
          </p:cNvSpPr>
          <p:nvPr userDrawn="1"/>
        </p:nvSpPr>
        <p:spPr>
          <a:xfrm>
            <a:off x="9524786" y="-493399"/>
            <a:ext cx="3243883" cy="32126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Circle: Hollow 30">
            <a:extLst>
              <a:ext uri="{FF2B5EF4-FFF2-40B4-BE49-F238E27FC236}">
                <a16:creationId xmlns:a16="http://schemas.microsoft.com/office/drawing/2014/main" id="{D6BBE2D3-617E-4598-874E-DAAFE6A89CC5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2" name="Circle: Hollow 31">
            <a:extLst>
              <a:ext uri="{FF2B5EF4-FFF2-40B4-BE49-F238E27FC236}">
                <a16:creationId xmlns:a16="http://schemas.microsoft.com/office/drawing/2014/main" id="{4F18B7CA-1521-4797-901A-711FD6AE2821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8C66B2F9-7F2F-4B0F-BCB5-0D476F9C403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-674706" y="2323047"/>
            <a:ext cx="4854932" cy="4854932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08636AC-E3F3-4206-B3DF-B6B91A39477B}"/>
              </a:ext>
            </a:extLst>
          </p:cNvPr>
          <p:cNvSpPr txBox="1"/>
          <p:nvPr userDrawn="1"/>
        </p:nvSpPr>
        <p:spPr>
          <a:xfrm rot="2082712">
            <a:off x="9761515" y="-798043"/>
            <a:ext cx="3673432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2651386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CONTENT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0" y="2716952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8335571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CBF2A2-4A94-4167-B811-76A9071CFD5E}"/>
              </a:ext>
            </a:extLst>
          </p:cNvPr>
          <p:cNvSpPr/>
          <p:nvPr userDrawn="1"/>
        </p:nvSpPr>
        <p:spPr>
          <a:xfrm>
            <a:off x="1227710" y="1601040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D2800E9-B245-4BF2-A06F-459F6B4DF8EC}"/>
              </a:ext>
            </a:extLst>
          </p:cNvPr>
          <p:cNvSpPr/>
          <p:nvPr userDrawn="1"/>
        </p:nvSpPr>
        <p:spPr>
          <a:xfrm>
            <a:off x="1227709" y="2849060"/>
            <a:ext cx="8419747" cy="1850988"/>
          </a:xfrm>
          <a:prstGeom prst="roundRect">
            <a:avLst>
              <a:gd name="adj" fmla="val 10491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EDB912A-94C7-48E7-9C7D-6933F5A16D89}"/>
              </a:ext>
            </a:extLst>
          </p:cNvPr>
          <p:cNvSpPr/>
          <p:nvPr userDrawn="1"/>
        </p:nvSpPr>
        <p:spPr>
          <a:xfrm>
            <a:off x="1239652" y="5067096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DC52E1-61B4-41C6-9C1B-78B53F41A1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55" y="1750950"/>
            <a:ext cx="6540302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grouping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5D33661A-E879-4955-BAB9-AA7B3C955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600" y="5238900"/>
            <a:ext cx="7334511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timing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94DBE2C-2418-448B-A0C4-52EECB64EB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9600" y="2963177"/>
            <a:ext cx="7334511" cy="15470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descriptio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CF5DA5-4716-4782-9501-A8F5107FB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949" y="1717481"/>
            <a:ext cx="498268" cy="57358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847704-7CBE-4510-BC64-B020E2657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8405" y="3391793"/>
            <a:ext cx="668829" cy="6206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257E957-3DBE-477B-97FB-9F76589E12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7513" y="5176199"/>
            <a:ext cx="58156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FB6D550-E9CE-4FA3-8A58-428B76CA8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grayscl/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2648" y="-363857"/>
            <a:ext cx="3950312" cy="3932557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39667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CONTENT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8335571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CBF2A2-4A94-4167-B811-76A9071CFD5E}"/>
              </a:ext>
            </a:extLst>
          </p:cNvPr>
          <p:cNvSpPr/>
          <p:nvPr userDrawn="1"/>
        </p:nvSpPr>
        <p:spPr>
          <a:xfrm>
            <a:off x="1227709" y="1629031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D2800E9-B245-4BF2-A06F-459F6B4DF8EC}"/>
              </a:ext>
            </a:extLst>
          </p:cNvPr>
          <p:cNvSpPr/>
          <p:nvPr userDrawn="1"/>
        </p:nvSpPr>
        <p:spPr>
          <a:xfrm>
            <a:off x="1227709" y="2814061"/>
            <a:ext cx="8419747" cy="1850988"/>
          </a:xfrm>
          <a:prstGeom prst="roundRect">
            <a:avLst>
              <a:gd name="adj" fmla="val 10491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EDB912A-94C7-48E7-9C7D-6933F5A16D89}"/>
              </a:ext>
            </a:extLst>
          </p:cNvPr>
          <p:cNvSpPr/>
          <p:nvPr userDrawn="1"/>
        </p:nvSpPr>
        <p:spPr>
          <a:xfrm>
            <a:off x="1227709" y="5053991"/>
            <a:ext cx="8419747" cy="82527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DC52E1-61B4-41C6-9C1B-78B53F41A1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55" y="1750950"/>
            <a:ext cx="6540302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grouping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5D33661A-E879-4955-BAB9-AA7B3C955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600" y="5203901"/>
            <a:ext cx="7334511" cy="525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timing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94DBE2C-2418-448B-A0C4-52EECB64EB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9600" y="2963177"/>
            <a:ext cx="7334511" cy="15470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add activity descrip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CF5DA5-4716-4782-9501-A8F5107FB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949" y="1717481"/>
            <a:ext cx="498268" cy="57358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847704-7CBE-4510-BC64-B020E2657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8405" y="3391793"/>
            <a:ext cx="668829" cy="6206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257E957-3DBE-477B-97FB-9F76589E12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7513" y="5176199"/>
            <a:ext cx="58156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986AB6F-E24C-434A-A8D2-81FF08CF8E0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705222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A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8" name="Picture Placeholder 26">
            <a:extLst>
              <a:ext uri="{FF2B5EF4-FFF2-40B4-BE49-F238E27FC236}">
                <a16:creationId xmlns:a16="http://schemas.microsoft.com/office/drawing/2014/main" id="{C8FBAAFA-749D-4879-A3BE-6DD635F520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18247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04858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8" name="Picture Placeholder 21" descr="A group of people pos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2B200B88-57D2-432E-9471-75C7FA8D84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0"/>
          <a:stretch/>
        </p:blipFill>
        <p:spPr>
          <a:xfrm>
            <a:off x="-724437" y="2845814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420859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76268F9-CEA2-49FC-B931-DD6EBD4FE758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31755" y="2841746"/>
            <a:ext cx="4406237" cy="440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252938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6" name="Picture Placeholder 144" descr="A picture containing person&#10;&#10;Description automatically generated">
            <a:extLst>
              <a:ext uri="{FF2B5EF4-FFF2-40B4-BE49-F238E27FC236}">
                <a16:creationId xmlns:a16="http://schemas.microsoft.com/office/drawing/2014/main" id="{7869A791-AE53-4C19-95CE-270F0FC118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79766" y="287984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511865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9">
            <a:extLst>
              <a:ext uri="{FF2B5EF4-FFF2-40B4-BE49-F238E27FC236}">
                <a16:creationId xmlns:a16="http://schemas.microsoft.com/office/drawing/2014/main" id="{8242DCA3-9E4A-4FB7-A86B-533E0F8C8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90931" y="2871289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226814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49">
            <a:extLst>
              <a:ext uri="{FF2B5EF4-FFF2-40B4-BE49-F238E27FC236}">
                <a16:creationId xmlns:a16="http://schemas.microsoft.com/office/drawing/2014/main" id="{5CE15B17-6DB5-40C0-83BD-507AD5BF65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80147" y="289300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5107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AC8B736D-BE55-4CC1-AA19-C0883264D3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668" y="0"/>
            <a:ext cx="788103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>
            <a:extLst>
              <a:ext uri="{FF2B5EF4-FFF2-40B4-BE49-F238E27FC236}">
                <a16:creationId xmlns:a16="http://schemas.microsoft.com/office/drawing/2014/main" id="{32358697-E1BE-4BC9-B487-F3AAF76A07C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40" b="99482" l="55885" r="99477">
                        <a14:foregroundMark x1="89974" y1="2073" x2="91718" y2="27047"/>
                        <a14:foregroundMark x1="97384" y1="6943" x2="98131" y2="35469"/>
                        <a14:foregroundMark x1="98954" y1="64870" x2="90759" y2="99689"/>
                        <a14:foregroundMark x1="65475" y1="62280" x2="71752" y2="98342"/>
                        <a14:foregroundMark x1="99477" y1="98342" x2="92589" y2="98964"/>
                        <a14:foregroundMark x1="92589" y1="98964" x2="73147" y2="97409"/>
                        <a14:foregroundMark x1="73147" y1="97409" x2="62772" y2="97409"/>
                        <a14:foregroundMark x1="62772" y1="97409" x2="62249" y2="97824"/>
                        <a14:foregroundMark x1="93287" y1="76580" x2="81779" y2="89741"/>
                        <a14:foregroundMark x1="81779" y1="89741" x2="81430" y2="90052"/>
                        <a14:foregroundMark x1="65126" y1="65389" x2="57018" y2="83938"/>
                        <a14:foregroundMark x1="57018" y1="83938" x2="55972" y2="91399"/>
                        <a14:foregroundMark x1="55972" y1="91399" x2="56234" y2="93782"/>
                        <a14:foregroundMark x1="92851" y1="37409" x2="77855" y2="39275"/>
                        <a14:foregroundMark x1="85615" y1="48601" x2="84743" y2="53161"/>
                        <a14:foregroundMark x1="94159" y1="3212" x2="65737" y2="25596"/>
                        <a14:foregroundMark x1="85615" y1="1140" x2="67568" y2="16166"/>
                        <a14:foregroundMark x1="74106" y1="4456" x2="69137" y2="13368"/>
                        <a14:foregroundMark x1="70793" y1="7668" x2="66434" y2="18342"/>
                        <a14:foregroundMark x1="98169" y1="41347" x2="97472" y2="43212"/>
                        <a14:backgroundMark x1="99420" y1="42340" x2="99477" y2="45699"/>
                        <a14:backgroundMark x1="99303" y1="35440" x2="99414" y2="41966"/>
                        <a14:backgroundMark x1="99477" y1="45699" x2="95728" y2="60000"/>
                        <a14:backgroundMark x1="71578" y1="44870" x2="70445" y2="61658"/>
                        <a14:backgroundMark x1="70445" y1="61658" x2="71055" y2="63005"/>
                        <a14:backgroundMark x1="63644" y1="59482" x2="57890" y2="64663"/>
                        <a14:backgroundMark x1="53531" y1="92642" x2="53705" y2="97306"/>
                        <a14:backgroundMark x1="91020" y1="415" x2="86574" y2="829"/>
                        <a14:backgroundMark x1="83958" y1="0" x2="83173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893"/>
          <a:stretch/>
        </p:blipFill>
        <p:spPr bwMode="auto">
          <a:xfrm flipH="1">
            <a:off x="-6030" y="-16126"/>
            <a:ext cx="37913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4AEC8F3-05D1-4FBF-BE72-97709EA1EAB0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AF443D3-F812-4F86-8B8E-E5816A3E11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9D95686D-A19F-4FBB-B1D5-3511D14F37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9" name="Circle: Hollow 58">
              <a:extLst>
                <a:ext uri="{FF2B5EF4-FFF2-40B4-BE49-F238E27FC236}">
                  <a16:creationId xmlns:a16="http://schemas.microsoft.com/office/drawing/2014/main" id="{0BC42117-CDE5-46AC-8D46-B6332B460C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89C79DA-BCA2-4018-BEFB-181F9216520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Circle: Hollow 60">
              <a:extLst>
                <a:ext uri="{FF2B5EF4-FFF2-40B4-BE49-F238E27FC236}">
                  <a16:creationId xmlns:a16="http://schemas.microsoft.com/office/drawing/2014/main" id="{D0EF23F0-FD20-46AA-AE67-872B404AB7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7180E7E-8326-4795-9C6A-34CDD3858C6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Circle: Hollow 62">
              <a:extLst>
                <a:ext uri="{FF2B5EF4-FFF2-40B4-BE49-F238E27FC236}">
                  <a16:creationId xmlns:a16="http://schemas.microsoft.com/office/drawing/2014/main" id="{7A2CAE88-E9E1-4077-8B53-9B96F59612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205D7D68-BCAA-475C-9132-75C2BA90D0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Circle: Hollow 69">
              <a:extLst>
                <a:ext uri="{FF2B5EF4-FFF2-40B4-BE49-F238E27FC236}">
                  <a16:creationId xmlns:a16="http://schemas.microsoft.com/office/drawing/2014/main" id="{A87B830C-E710-4D36-84CB-310EE9A5DBC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1" name="Circle: Hollow 70">
              <a:extLst>
                <a:ext uri="{FF2B5EF4-FFF2-40B4-BE49-F238E27FC236}">
                  <a16:creationId xmlns:a16="http://schemas.microsoft.com/office/drawing/2014/main" id="{E4239021-43E9-4E39-BB61-34836FF5D4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E2E866C-1C81-4F83-9ECD-A95CA4EACA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996A0E6-0698-4B03-9301-CE77ECF355A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423C7B6A-0681-4B1A-8B44-A11B7439F9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803A0765-3ED3-4F89-85B1-D7729A7C40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76" name="Circle: Hollow 75">
              <a:extLst>
                <a:ext uri="{FF2B5EF4-FFF2-40B4-BE49-F238E27FC236}">
                  <a16:creationId xmlns:a16="http://schemas.microsoft.com/office/drawing/2014/main" id="{4BCE93E5-A965-4373-99A7-D17DF7539F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46ADE4A9-D827-4A98-8D6C-8838DD08CD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28C071F-6C60-4B47-AA35-8E40B99D3DD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AE973C1F-8FED-4F0C-AB64-EA956CDA9D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9376B53-447E-4EF8-B52E-4BAC39A6B3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B065B701-D4C7-4A88-BE4B-2A3128D06C0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36E6813-6D61-4890-9A81-5F309F6851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E020CDE-4B09-4F5E-965A-53B2846D5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C2F2CC2-5529-420E-802F-F4E925BBF73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047EC91-B556-402C-8514-70DE3338CA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5431908-CAEB-487F-AAC8-7EC86ABB2E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0A783DD-81C3-4A0A-AF3A-82D891E405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C99D31CB-3C8B-41E7-BEAB-81EE3C479C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76720E2-78DC-4F58-AC67-70B501421F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B9BA35A9-CF0D-4E0B-8E3E-D997CD01A67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7D30F32-E6BF-43FD-9053-EA8B82534C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0B965F0-94B9-4302-9215-DAA8D3A5EA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F8466486-0388-4E26-9B61-AA12DAF8B5D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074545C7-8F3A-400E-9FCA-2159F6E29D9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78A0446C-8D9E-46A9-8102-8C9F30E180A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344245E-D03F-402E-A49C-6BABDD17938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D1892B87-E656-4A94-A5A5-6EE6E6A31A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84217071-D59E-46B8-BFFA-AAA62024AB2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80CD4824-C6A6-452F-9229-1A42C666E90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EE7198A6-F01F-42DB-B952-E057D3A469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0493F4AA-9AB1-4B4D-95AE-AC30D0DF186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Circle: Hollow 101">
              <a:extLst>
                <a:ext uri="{FF2B5EF4-FFF2-40B4-BE49-F238E27FC236}">
                  <a16:creationId xmlns:a16="http://schemas.microsoft.com/office/drawing/2014/main" id="{6EF5040E-82CE-4E1D-877E-3CBD1AD8497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03" name="Circle: Hollow 102">
              <a:extLst>
                <a:ext uri="{FF2B5EF4-FFF2-40B4-BE49-F238E27FC236}">
                  <a16:creationId xmlns:a16="http://schemas.microsoft.com/office/drawing/2014/main" id="{09BEAE28-30DA-4255-9EFE-16682F31BA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1E55529-5152-004A-CC1B-1EC765D245B9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3ADF81C-64FF-5830-4D41-594A1E2C29D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B8A01D3-0280-C0B8-62A5-B7440F21E0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F43539D-2D01-D2C0-1806-52D5E198832D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1B7FD58-3E15-C8B9-9CE5-AC013B40A21D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1890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IM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FA3418-0396-490C-A419-013921E19A8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7B0406E-C1BB-6A1F-CB07-3376E948D0BF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94D745D1-DC55-B4E1-7DAD-4B4B000F3095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250790E5-9E11-4649-E4AC-41D375E1BFC4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7" name="Picture Placeholder 10">
            <a:extLst>
              <a:ext uri="{FF2B5EF4-FFF2-40B4-BE49-F238E27FC236}">
                <a16:creationId xmlns:a16="http://schemas.microsoft.com/office/drawing/2014/main" id="{BF4F2507-8787-C114-465A-45FB837B2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954" t="17481" r="12474"/>
          <a:stretch/>
        </p:blipFill>
        <p:spPr>
          <a:xfrm>
            <a:off x="8680177" y="-346796"/>
            <a:ext cx="3892823" cy="389282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2230086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D251AF0A-27FC-4AA5-8EB4-56BFE85902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85511" y="2869836"/>
            <a:ext cx="4335831" cy="4335831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588813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2" name="Picture Placeholder 149" descr="A picture containing person, person, posing&#10;&#10;Description automatically generated">
            <a:extLst>
              <a:ext uri="{FF2B5EF4-FFF2-40B4-BE49-F238E27FC236}">
                <a16:creationId xmlns:a16="http://schemas.microsoft.com/office/drawing/2014/main" id="{FB92EA2E-0D89-4A02-B4F5-4B510E2AD4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21819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706793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2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8DA116DA-B566-414C-8559-712F154835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27403" y="2841752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89432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39">
            <a:extLst>
              <a:ext uri="{FF2B5EF4-FFF2-40B4-BE49-F238E27FC236}">
                <a16:creationId xmlns:a16="http://schemas.microsoft.com/office/drawing/2014/main" id="{220B9079-263A-4D12-B084-FA6EE37C32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5765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64868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44">
            <a:extLst>
              <a:ext uri="{FF2B5EF4-FFF2-40B4-BE49-F238E27FC236}">
                <a16:creationId xmlns:a16="http://schemas.microsoft.com/office/drawing/2014/main" id="{5524053A-1D58-42F3-AD3D-D75746CA31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90"/>
          <a:stretch/>
        </p:blipFill>
        <p:spPr>
          <a:xfrm>
            <a:off x="-73262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37785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Placeholder 375">
            <a:extLst>
              <a:ext uri="{FF2B5EF4-FFF2-40B4-BE49-F238E27FC236}">
                <a16:creationId xmlns:a16="http://schemas.microsoft.com/office/drawing/2014/main" id="{296D614F-AECD-4FAA-B7C6-98D384427F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380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32427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384">
            <a:extLst>
              <a:ext uri="{FF2B5EF4-FFF2-40B4-BE49-F238E27FC236}">
                <a16:creationId xmlns:a16="http://schemas.microsoft.com/office/drawing/2014/main" id="{CCF43AA6-94EE-4D62-B821-C59B9E4DB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>
            <a:off x="-692847" y="2841752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966919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0" name="Picture Placeholder 389">
            <a:extLst>
              <a:ext uri="{FF2B5EF4-FFF2-40B4-BE49-F238E27FC236}">
                <a16:creationId xmlns:a16="http://schemas.microsoft.com/office/drawing/2014/main" id="{A2B1F869-CDAD-44BF-B3F7-41EE5175A9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751170" y="2856579"/>
            <a:ext cx="440877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97852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6" name="Picture Placeholder 370">
            <a:extLst>
              <a:ext uri="{FF2B5EF4-FFF2-40B4-BE49-F238E27FC236}">
                <a16:creationId xmlns:a16="http://schemas.microsoft.com/office/drawing/2014/main" id="{F74DDE9A-1E7B-43AB-8753-54052BE9AE5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33804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989940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ACB5B2EF-1D68-4E05-AE2F-47E0F8E46856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FE8B15A-C777-4D84-BBF1-64E186AAB836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BF3B4B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BF3B4B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BF3B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BF3B4B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21" name="Picture Placeholder 178" descr="A person standing in front of a wall with graffiti&#10;&#10;Description automatically generated with medium confidence">
            <a:extLst>
              <a:ext uri="{FF2B5EF4-FFF2-40B4-BE49-F238E27FC236}">
                <a16:creationId xmlns:a16="http://schemas.microsoft.com/office/drawing/2014/main" id="{55E774AE-30C6-45DB-9253-374606B84D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4789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4121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IMAG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FA3418-0396-490C-A419-013921E19A8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78D8CD-C3E3-4637-8184-7FC938EE9C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B6B688A-4321-4967-ADCE-3DD62CCF2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0A46619-F1F2-43A8-85D6-A1D7F402C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04A0385-DE7C-4017-A042-7DF11670E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9277E1-AD60-4D2D-BE69-54968C565961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3ADD9C8-F505-F387-6A83-94A7167636BD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38335404-23E4-214B-40CF-0D5E34B8C826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3331DB0F-033C-00F0-0DEA-20406F0797B9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7" name="Picture Placeholder 15" descr="Diagram, venn diagram&#10;&#10;Description automatically generated">
            <a:extLst>
              <a:ext uri="{FF2B5EF4-FFF2-40B4-BE49-F238E27FC236}">
                <a16:creationId xmlns:a16="http://schemas.microsoft.com/office/drawing/2014/main" id="{5E5FB6B2-7168-B6E6-8058-DC88D4C247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14" t="13326" r="11338" b="12427"/>
          <a:stretch/>
        </p:blipFill>
        <p:spPr>
          <a:xfrm>
            <a:off x="8692877" y="-308696"/>
            <a:ext cx="3892823" cy="389282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5298486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9DA7E38D-A13D-4F7E-999D-8922A83324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9C8730-2212-4221-B7B1-839C8C5A89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A3E08D-55F6-417B-BF67-99B2DE7696C5}"/>
              </a:ext>
            </a:extLst>
          </p:cNvPr>
          <p:cNvSpPr>
            <a:spLocks noChangeAspect="1"/>
          </p:cNvSpPr>
          <p:nvPr userDrawn="1"/>
        </p:nvSpPr>
        <p:spPr>
          <a:xfrm>
            <a:off x="9587451" y="-450143"/>
            <a:ext cx="3137950" cy="31076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4F53AA36-CC97-4A8B-ACD8-80265041AA77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FFC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A492BF7C-70D6-4DC1-9995-A43B597C35CE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FFC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D6AE92-C0F6-443F-8FD2-8E18D00F53D0}"/>
              </a:ext>
            </a:extLst>
          </p:cNvPr>
          <p:cNvSpPr>
            <a:spLocks noChangeAspect="1"/>
          </p:cNvSpPr>
          <p:nvPr userDrawn="1"/>
        </p:nvSpPr>
        <p:spPr>
          <a:xfrm>
            <a:off x="-857644" y="2689922"/>
            <a:ext cx="4723935" cy="46783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472E42A6-4578-4227-B430-88B39E80CE3C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accent4">
              <a:lumMod val="40000"/>
              <a:lumOff val="6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0CB4BE12-AAD7-41B1-AAE2-2619652C95D6}"/>
              </a:ext>
            </a:extLst>
          </p:cNvPr>
          <p:cNvSpPr>
            <a:spLocks noChangeAspect="1"/>
          </p:cNvSpPr>
          <p:nvPr userDrawn="1"/>
        </p:nvSpPr>
        <p:spPr>
          <a:xfrm>
            <a:off x="-933329" y="2648263"/>
            <a:ext cx="4825508" cy="4778978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154">
            <a:extLst>
              <a:ext uri="{FF2B5EF4-FFF2-40B4-BE49-F238E27FC236}">
                <a16:creationId xmlns:a16="http://schemas.microsoft.com/office/drawing/2014/main" id="{A017D99F-B36D-43F9-8829-A405312A39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15241" y="2845814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715917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3712E44-D7EE-4CC0-AC22-36330532A9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8BB3806-A712-4AF9-A724-F6B430C65A82}"/>
              </a:ext>
            </a:extLst>
          </p:cNvPr>
          <p:cNvSpPr>
            <a:spLocks noChangeAspect="1"/>
          </p:cNvSpPr>
          <p:nvPr userDrawn="1"/>
        </p:nvSpPr>
        <p:spPr>
          <a:xfrm>
            <a:off x="9556845" y="-461649"/>
            <a:ext cx="3181255" cy="31505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947285-E7DB-4D8C-8BBB-918B36125350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rgbClr val="00AEE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rgbClr val="00AEEF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rgbClr val="00AEE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rgbClr val="00AEEF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5C055-21A1-4202-86ED-F3FF73DA712A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  <p:pic>
        <p:nvPicPr>
          <p:cNvPr id="18" name="Picture Placeholder 159">
            <a:extLst>
              <a:ext uri="{FF2B5EF4-FFF2-40B4-BE49-F238E27FC236}">
                <a16:creationId xmlns:a16="http://schemas.microsoft.com/office/drawing/2014/main" id="{97A1E362-812A-410C-89AF-98619B105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1"/>
          <a:stretch/>
        </p:blipFill>
        <p:spPr>
          <a:xfrm>
            <a:off x="-733065" y="2858080"/>
            <a:ext cx="4392000" cy="4392000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964733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TRANSITION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DB78C22D-0D4E-4548-AAEC-B5A3BDE44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46"/>
          <a:stretch/>
        </p:blipFill>
        <p:spPr>
          <a:xfrm>
            <a:off x="0" y="-10160"/>
            <a:ext cx="12209319" cy="6868160"/>
          </a:xfrm>
          <a:prstGeom prst="rect">
            <a:avLst/>
          </a:prstGeom>
          <a:noFill/>
        </p:spPr>
      </p:pic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8B55AA09-3DEA-44C7-880C-2C77E013244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96881" y="224705"/>
            <a:ext cx="7056750" cy="625042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741773FA-B12B-47D6-B17D-358915726A5A}"/>
              </a:ext>
            </a:extLst>
          </p:cNvPr>
          <p:cNvSpPr>
            <a:spLocks noChangeAspect="1"/>
          </p:cNvSpPr>
          <p:nvPr userDrawn="1"/>
        </p:nvSpPr>
        <p:spPr>
          <a:xfrm>
            <a:off x="9524786" y="-493399"/>
            <a:ext cx="3243883" cy="32126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FBD373-A20F-42B2-B1FE-498185EE3FA4}"/>
              </a:ext>
            </a:extLst>
          </p:cNvPr>
          <p:cNvSpPr>
            <a:spLocks noChangeAspect="1"/>
          </p:cNvSpPr>
          <p:nvPr userDrawn="1"/>
        </p:nvSpPr>
        <p:spPr>
          <a:xfrm>
            <a:off x="-950558" y="2664591"/>
            <a:ext cx="4825508" cy="47789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1070210" y="2523244"/>
            <a:ext cx="5088783" cy="503971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949657" y="2664591"/>
            <a:ext cx="4825508" cy="4778978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CB8B61-51C7-4238-9D34-DE214F84F36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747160" y="2858080"/>
            <a:ext cx="4392000" cy="4392000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42D19691-22AE-42B3-97A9-E16551576E41}"/>
              </a:ext>
            </a:extLst>
          </p:cNvPr>
          <p:cNvSpPr>
            <a:spLocks noChangeAspect="1"/>
          </p:cNvSpPr>
          <p:nvPr userDrawn="1"/>
        </p:nvSpPr>
        <p:spPr>
          <a:xfrm>
            <a:off x="9412977" y="-609346"/>
            <a:ext cx="3471870" cy="3438392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195FED30-D717-436B-94EF-4EEC137BA630}"/>
              </a:ext>
            </a:extLst>
          </p:cNvPr>
          <p:cNvSpPr>
            <a:spLocks noChangeAspect="1"/>
          </p:cNvSpPr>
          <p:nvPr userDrawn="1"/>
        </p:nvSpPr>
        <p:spPr>
          <a:xfrm>
            <a:off x="9530300" y="-493399"/>
            <a:ext cx="3238369" cy="3207143"/>
          </a:xfrm>
          <a:prstGeom prst="donut">
            <a:avLst>
              <a:gd name="adj" fmla="val 2682"/>
            </a:avLst>
          </a:prstGeom>
          <a:solidFill>
            <a:schemeClr val="tx1">
              <a:lumMod val="50000"/>
              <a:lumOff val="5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643228-9492-4E87-8ABB-9E76F5301B31}"/>
              </a:ext>
            </a:extLst>
          </p:cNvPr>
          <p:cNvSpPr txBox="1"/>
          <p:nvPr userDrawn="1"/>
        </p:nvSpPr>
        <p:spPr>
          <a:xfrm rot="1814483">
            <a:off x="9803067" y="-1278969"/>
            <a:ext cx="620931" cy="521681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33300" b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2614D5-3C75-4361-A719-BE1FAD76AA0F}"/>
              </a:ext>
            </a:extLst>
          </p:cNvPr>
          <p:cNvSpPr txBox="1"/>
          <p:nvPr userDrawn="1"/>
        </p:nvSpPr>
        <p:spPr>
          <a:xfrm>
            <a:off x="7719497" y="4049489"/>
            <a:ext cx="39998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54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AP QUIZ</a:t>
            </a:r>
          </a:p>
        </p:txBody>
      </p:sp>
    </p:spTree>
    <p:extLst>
      <p:ext uri="{BB962C8B-B14F-4D97-AF65-F5344CB8AC3E}">
        <p14:creationId xmlns:p14="http://schemas.microsoft.com/office/powerpoint/2010/main" val="294561802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Y QUESTIONS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14E762-90C9-4902-873D-9C5CE876CFC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 cstate="email">
            <a:grayscl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0055" r="4759" b="1746"/>
          <a:stretch/>
        </p:blipFill>
        <p:spPr>
          <a:xfrm>
            <a:off x="8671663" y="-308847"/>
            <a:ext cx="3867243" cy="3867243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859AF2-3AEB-4D97-AD0A-06675ED678AD}"/>
              </a:ext>
            </a:extLst>
          </p:cNvPr>
          <p:cNvSpPr txBox="1"/>
          <p:nvPr userDrawn="1"/>
        </p:nvSpPr>
        <p:spPr>
          <a:xfrm>
            <a:off x="203199" y="175273"/>
            <a:ext cx="63946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3200" b="1" kern="120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NY QUESTIONS AT THIS STAGE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CD1B9A-57A9-48A3-9DCB-AA10FF62AC80}"/>
              </a:ext>
            </a:extLst>
          </p:cNvPr>
          <p:cNvSpPr txBox="1"/>
          <p:nvPr userDrawn="1"/>
        </p:nvSpPr>
        <p:spPr>
          <a:xfrm rot="21273716">
            <a:off x="6239566" y="-302106"/>
            <a:ext cx="620931" cy="8956298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576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0125894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VERSATION DISCUSSION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4731980-C8B3-4B1D-9C60-501336A6F028}"/>
              </a:ext>
            </a:extLst>
          </p:cNvPr>
          <p:cNvSpPr txBox="1"/>
          <p:nvPr userDrawn="1"/>
        </p:nvSpPr>
        <p:spPr>
          <a:xfrm rot="21273716">
            <a:off x="5491102" y="-655948"/>
            <a:ext cx="1209797" cy="994118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62000" b="1">
                <a:solidFill>
                  <a:srgbClr val="FFC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5327D5A-ACD5-D916-B642-CF1FD3A4A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0ECF9D-499D-FCC9-BCFC-224B7372753B}"/>
              </a:ext>
            </a:extLst>
          </p:cNvPr>
          <p:cNvSpPr txBox="1"/>
          <p:nvPr userDrawn="1"/>
        </p:nvSpPr>
        <p:spPr>
          <a:xfrm rot="2199743">
            <a:off x="8170748" y="-1541592"/>
            <a:ext cx="969427" cy="9941183"/>
          </a:xfrm>
          <a:prstGeom prst="rect">
            <a:avLst/>
          </a:prstGeom>
          <a:noFill/>
          <a:scene3d>
            <a:camera prst="isometricOffAxis1Right">
              <a:rot lat="164394" lon="19459956" rev="715190"/>
            </a:camera>
            <a:lightRig rig="threePt" dir="t"/>
          </a:scene3d>
          <a:sp3d prstMaterial="matte">
            <a:bevelT w="38100"/>
          </a:sp3d>
        </p:spPr>
        <p:txBody>
          <a:bodyPr wrap="square" rtlCol="0">
            <a:spAutoFit/>
            <a:sp3d extrusionH="57150">
              <a:bevelT w="0" h="241300"/>
            </a:sp3d>
          </a:bodyPr>
          <a:lstStyle/>
          <a:p>
            <a:r>
              <a:rPr lang="nl-NL" sz="64000" b="1">
                <a:solidFill>
                  <a:srgbClr val="C00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8599631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CONTENT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14E762-90C9-4902-873D-9C5CE876CFC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 cstate="email">
            <a:grayscl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0055" r="4759" b="1746"/>
          <a:stretch/>
        </p:blipFill>
        <p:spPr>
          <a:xfrm>
            <a:off x="8671663" y="-308847"/>
            <a:ext cx="3867243" cy="3867243"/>
          </a:xfrm>
          <a:prstGeom prst="ellipse">
            <a:avLst/>
          </a:prstGeom>
          <a:ln w="190500" cap="rnd">
            <a:noFill/>
            <a:prstDash val="solid"/>
          </a:ln>
          <a:effectLst/>
          <a:scene3d>
            <a:camera prst="orthographicFront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D60703F2-1E52-4173-B4A7-4503D6E81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3306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 CONTENT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9B8E53-FFBC-4D45-AAD8-87ED27CD918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29AD2-E0F3-4D9C-9F90-CC5CF8600EC5}"/>
              </a:ext>
            </a:extLst>
          </p:cNvPr>
          <p:cNvSpPr/>
          <p:nvPr userDrawn="1"/>
        </p:nvSpPr>
        <p:spPr>
          <a:xfrm rot="10800000">
            <a:off x="-17319" y="2716951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179783" y="0"/>
            <a:ext cx="10515600" cy="96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C9CD84-B7FC-41A4-A340-898AE0C16ED6}"/>
              </a:ext>
            </a:extLst>
          </p:cNvPr>
          <p:cNvSpPr>
            <a:spLocks noChangeAspect="1"/>
          </p:cNvSpPr>
          <p:nvPr userDrawn="1"/>
        </p:nvSpPr>
        <p:spPr>
          <a:xfrm>
            <a:off x="8528055" y="-451105"/>
            <a:ext cx="4171946" cy="41317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2E82F2B6-D24A-416E-A187-4E49DE485402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C4CCA36C-426E-4A63-9A07-DEB4BFCB3FAF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805" y="1100725"/>
            <a:ext cx="5813766" cy="576743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642B860-38E4-4810-9833-902063C0812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563265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1">
    <p:bg>
      <p:bgPr>
        <a:gradFill>
          <a:gsLst>
            <a:gs pos="24000">
              <a:schemeClr val="bg1">
                <a:alpha val="0"/>
              </a:schemeClr>
            </a:gs>
            <a:gs pos="100000">
              <a:srgbClr val="D2EEF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>
            <a:extLst>
              <a:ext uri="{FF2B5EF4-FFF2-40B4-BE49-F238E27FC236}">
                <a16:creationId xmlns:a16="http://schemas.microsoft.com/office/drawing/2014/main" id="{35B8C781-36CE-4DB0-85EE-7F1A5BE160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02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CA32A7-65CC-446F-90F1-D5810D05E72C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00EEB8-1F3F-425B-B2F9-94EF253497D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72DBACD-3B29-48FA-BB57-3FF5E11F436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42F7FF86-A528-48C8-BC4F-B0280FC875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0C2E630D-7A77-4391-B763-5D99596A8C9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423A166-77F7-4255-A461-D201E6B7B5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F8636B5B-FD40-416C-9A18-B98DE23DDF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92253AD-A08C-41C2-9746-338111993F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92EDAC14-0032-42B6-9F9E-2D85DB6FD7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0755191-1DA0-4CF8-8448-69DFB6F1FB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66018A7-08D0-4D97-BCBA-4C0972B5B7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83084BA5-1453-4D45-A000-E26D51CE3C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CE56E73-296E-4DBE-AD69-4B90D1CCC28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01B19C2-782C-4EF5-84D9-103CC7278F4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27EE673-D7AF-4F70-906F-A89A0EDC5AB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B7E533D-FED4-4225-8963-76EA05B3AA9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94D2EAF9-A3FD-4FEB-AD3F-4AB612C3C3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6D907B9-39BB-48B0-ADA1-4C55F46171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AB1E9B4-C5BC-4D6F-ACF5-55AA3484C9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4F129F0-D9F9-4423-A68E-2F371CC3EB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106732A-72C0-48C5-885E-C6E033A322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EA4A954-AF44-4848-A34A-5FAB301571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7FC9AF0-3EB1-4D9F-9E4C-443485F5D1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E813DEC-9315-478B-8736-0820166CB6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432A525-008F-4029-95CF-E3F69EC14C3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6F333CF-707E-40A3-BAB3-048F27BF12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43D06FE-84E3-4BB8-A47C-3B02F62A8AC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0864EB8-0D02-41B2-9DAD-7968B0E90EE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785A0AB-A18E-456A-93B4-E082724BEB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5CB91CE-80F1-439E-B2EB-7DADF2FBC0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680E319-7F05-4888-9FB4-296DCE9C9E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97A3479-E806-4FDD-AC6F-D0BBEF1F11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86DE44C-BCD9-4CCB-958E-A8D58488F8E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9D49990-909D-42C1-864E-0B4B7C950B8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B656CE1-1C45-494C-83F3-0DE85AD10B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AC3108F-EE7B-4D7A-AAD2-58A943325D4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0577402-C60D-47B9-A9A4-29FEF86FDBA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7498CB7-5019-4F21-941D-10DE5C7D7E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67DB938-6E06-473B-9406-513B39E4DBC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691D319-AAAF-4E10-AAAB-B222F822EF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91E099E-7728-4C1F-A1AC-9CF45102A05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2FE81AA-1DDF-44B8-9E3E-B2BD2B5F351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FE697FDC-9678-4E01-9132-96BBFBA7E2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8" name="Circle: Hollow 57">
              <a:extLst>
                <a:ext uri="{FF2B5EF4-FFF2-40B4-BE49-F238E27FC236}">
                  <a16:creationId xmlns:a16="http://schemas.microsoft.com/office/drawing/2014/main" id="{C1BCC805-69D9-406E-A4EF-2AB88B7AD5D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66ED7EA-D6C4-1A02-D1DA-3156853FCC3D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144B7EF-739F-BCB7-62AA-C9BFA775F5E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713229A-E387-0616-935B-AFAC86A0C9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A44E787-3055-FBFB-01FF-60034795EBA8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DC5E05-7BCB-AEAA-BCD0-9D627C185302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208838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>
            <a:extLst>
              <a:ext uri="{FF2B5EF4-FFF2-40B4-BE49-F238E27FC236}">
                <a16:creationId xmlns:a16="http://schemas.microsoft.com/office/drawing/2014/main" id="{4B875472-0CD0-4D97-A4E1-91E9A8328F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668" y="0"/>
            <a:ext cx="788103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>
            <a:extLst>
              <a:ext uri="{FF2B5EF4-FFF2-40B4-BE49-F238E27FC236}">
                <a16:creationId xmlns:a16="http://schemas.microsoft.com/office/drawing/2014/main" id="{232F2D46-4570-4AEC-9ED6-5E35E3BAB85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40" b="99482" l="55885" r="99477">
                        <a14:foregroundMark x1="89974" y1="2073" x2="91718" y2="27047"/>
                        <a14:foregroundMark x1="97384" y1="6943" x2="98131" y2="35469"/>
                        <a14:foregroundMark x1="98954" y1="64870" x2="90759" y2="99689"/>
                        <a14:foregroundMark x1="65475" y1="62280" x2="71752" y2="98342"/>
                        <a14:foregroundMark x1="99477" y1="98342" x2="92589" y2="98964"/>
                        <a14:foregroundMark x1="92589" y1="98964" x2="73147" y2="97409"/>
                        <a14:foregroundMark x1="73147" y1="97409" x2="62772" y2="97409"/>
                        <a14:foregroundMark x1="62772" y1="97409" x2="62249" y2="97824"/>
                        <a14:foregroundMark x1="93287" y1="76580" x2="81779" y2="89741"/>
                        <a14:foregroundMark x1="81779" y1="89741" x2="81430" y2="90052"/>
                        <a14:foregroundMark x1="65126" y1="65389" x2="57018" y2="83938"/>
                        <a14:foregroundMark x1="57018" y1="83938" x2="55972" y2="91399"/>
                        <a14:foregroundMark x1="55972" y1="91399" x2="56234" y2="93782"/>
                        <a14:foregroundMark x1="92851" y1="37409" x2="77855" y2="39275"/>
                        <a14:foregroundMark x1="85615" y1="48601" x2="84743" y2="53161"/>
                        <a14:foregroundMark x1="94159" y1="3212" x2="65737" y2="25596"/>
                        <a14:foregroundMark x1="85615" y1="1140" x2="67568" y2="16166"/>
                        <a14:foregroundMark x1="74106" y1="4456" x2="69137" y2="13368"/>
                        <a14:foregroundMark x1="70793" y1="7668" x2="66434" y2="18342"/>
                        <a14:foregroundMark x1="98169" y1="41347" x2="97472" y2="43212"/>
                        <a14:backgroundMark x1="99420" y1="42340" x2="99477" y2="45699"/>
                        <a14:backgroundMark x1="99303" y1="35440" x2="99414" y2="41966"/>
                        <a14:backgroundMark x1="99477" y1="45699" x2="95728" y2="60000"/>
                        <a14:backgroundMark x1="71578" y1="44870" x2="70445" y2="61658"/>
                        <a14:backgroundMark x1="70445" y1="61658" x2="71055" y2="63005"/>
                        <a14:backgroundMark x1="63644" y1="59482" x2="57890" y2="64663"/>
                        <a14:backgroundMark x1="53531" y1="92642" x2="53705" y2="97306"/>
                        <a14:backgroundMark x1="91020" y1="415" x2="86574" y2="829"/>
                        <a14:backgroundMark x1="83958" y1="0" x2="83173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893"/>
          <a:stretch/>
        </p:blipFill>
        <p:spPr bwMode="auto">
          <a:xfrm flipH="1">
            <a:off x="-6030" y="-16126"/>
            <a:ext cx="37913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1C47F234-0A60-4960-850E-D7781A59071D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517E1E-13C9-41DE-B8B6-85208D9852AE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7EDEBF5-B318-4F20-98E0-A5EEDF1165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99ED2D3C-D048-4639-AECA-73D9C3948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8EB2903-AA1F-42AD-B0A9-D6274F815D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4199C2E-807F-43A8-A499-EBE88A24A0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6398FC5B-6E56-4C97-AEC8-01592F57DB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685FE09-4D20-4C04-B53A-DA88BFC9EB4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D589A8C9-F558-45E8-AC82-B54687BE66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C883584-BFCD-40AD-8EFA-D2A8A62C7B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C6F2F031-BA0D-460B-A758-60915EAEC0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65FF7D9-FD14-4844-B7A8-AF564567DB9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DB206D4-1889-484D-807B-796F58382B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0EDFE87-AF38-4993-8346-49BF237346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C00934C-7580-4B89-86A6-EE5836A863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2A043CB-D9FE-47AB-93F7-CCB2A0B731A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FB56B01D-4300-4DEA-8ED7-63CE4DDFB2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0009705-0F62-42E0-8505-1AEE053BE78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664632D-B114-4CE7-8938-54B4D2F6A5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C86EC49-10A3-4174-BD7B-1B420B1A9A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53E8A9B-81B2-4BEE-879A-C296B59A326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09970AF-51F0-43A9-B6C7-5AE8834895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1D494F-33C3-485D-A5FE-8093993568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71143BF-A24E-4ED5-9D8D-599F220F14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F6484BD-887D-4FF0-9DD5-0A01BF62A75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06482A0-147A-4950-8C53-BAC1E52172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749C75-A67C-4720-AB92-DC49143EEC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919612C-6DBE-4CE3-B77B-2B7B319851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708FE6B-B0C6-4AD7-9444-2BD3F93A36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BCFC0A7-853C-495B-9D68-EA00954476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257126C-3FEB-4719-A85E-BB9B6E08B7B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A26391D-B704-4736-9086-3AFB6EE2C8D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3D732B-79E6-4292-8812-4FF89620B7E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0C8A1EE-A5AC-437F-A736-A9BC03F6457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50BEEA3-3B8A-4ECA-935D-32D25E87EF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DACAAD8-2D35-4D45-B1C2-345DFD060D9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C01AD63C-45AD-4EC1-9665-AB4855AFDC1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5729DBDB-C379-4BA1-AE43-B2A644932B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7C087-52BC-4EFC-BD09-20152F47ED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0107CC9-94EB-4B97-B1C6-E75EDABBE6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6B275410-3950-451A-8F58-0AD448F97B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DE0AEFE-063C-43D2-BC75-96E8F09953D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3F872ED9-D0B8-4E00-A97F-2945B3CDC4B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8B0131FC-FE78-4B3B-8273-515AC1331A4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79859A5-E593-9233-AF23-D5559A1B9684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7730E28-5533-0EE7-19E3-6523993EC85B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8B9CA68-E7E6-B6F2-CEAF-4132757E0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4DBDBEB-876F-ABE5-38A2-4FD455C89E0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478D393-D5BD-28FA-A892-16F799BB2F31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73135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F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4">
            <a:extLst>
              <a:ext uri="{FF2B5EF4-FFF2-40B4-BE49-F238E27FC236}">
                <a16:creationId xmlns:a16="http://schemas.microsoft.com/office/drawing/2014/main" id="{42CD170D-E2D3-4EAE-96C3-BEDCB4AAD04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868" y="0"/>
            <a:ext cx="81376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>
            <a:extLst>
              <a:ext uri="{FF2B5EF4-FFF2-40B4-BE49-F238E27FC236}">
                <a16:creationId xmlns:a16="http://schemas.microsoft.com/office/drawing/2014/main" id="{3DEB0242-D4DB-4D9A-B54E-93F2FAB9C2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90" b="99792" l="32727" r="70579">
                        <a14:foregroundMark x1="55455" y1="50780" x2="50661" y2="51821"/>
                        <a14:foregroundMark x1="67360" y1="47043" x2="67646" y2="54115"/>
                        <a14:foregroundMark x1="66281" y1="20291" x2="67356" y2="46928"/>
                        <a14:foregroundMark x1="68043" y1="65556" x2="66116" y2="72633"/>
                        <a14:foregroundMark x1="66116" y1="72633" x2="63554" y2="71072"/>
                        <a14:foregroundMark x1="59091" y1="59729" x2="50909" y2="99792"/>
                        <a14:foregroundMark x1="64463" y1="19459" x2="60496" y2="29553"/>
                        <a14:foregroundMark x1="66446" y1="20499" x2="70165" y2="26015"/>
                        <a14:foregroundMark x1="70165" y1="26015" x2="70430" y2="29683"/>
                        <a14:foregroundMark x1="64215" y1="19979" x2="52810" y2="23413"/>
                        <a14:foregroundMark x1="60331" y1="18835" x2="50992" y2="24246"/>
                        <a14:foregroundMark x1="59008" y1="19043" x2="52397" y2="23205"/>
                        <a14:foregroundMark x1="52397" y1="23205" x2="51736" y2="24142"/>
                        <a14:foregroundMark x1="43554" y1="68574" x2="36033" y2="94381"/>
                        <a14:foregroundMark x1="36033" y1="94381" x2="32727" y2="98855"/>
                        <a14:foregroundMark x1="38017" y1="69823" x2="33802" y2="92612"/>
                        <a14:foregroundMark x1="46694" y1="70968" x2="43140" y2="77419"/>
                        <a14:foregroundMark x1="64711" y1="51405" x2="65289" y2="59105"/>
                        <a14:foregroundMark x1="65537" y1="67430" x2="58264" y2="99584"/>
                        <a14:foregroundMark x1="70579" y1="26223" x2="67603" y2="21956"/>
                        <a14:foregroundMark x1="70248" y1="25702" x2="67603" y2="21748"/>
                        <a14:foregroundMark x1="51322" y1="24454" x2="47686" y2="30385"/>
                        <a14:foregroundMark x1="47686" y1="30385" x2="47686" y2="30385"/>
                        <a14:foregroundMark x1="50992" y1="24454" x2="47934" y2="29969"/>
                        <a14:backgroundMark x1="71240" y1="29865" x2="68760" y2="47242"/>
                        <a14:backgroundMark x1="68760" y1="47242" x2="69256" y2="54943"/>
                        <a14:backgroundMark x1="69256" y1="54943" x2="68760" y2="57024"/>
                        <a14:backgroundMark x1="67851" y1="54110" x2="68017" y2="655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77" r="28609"/>
          <a:stretch/>
        </p:blipFill>
        <p:spPr bwMode="auto">
          <a:xfrm flipH="1">
            <a:off x="1850719" y="-10556"/>
            <a:ext cx="3693747" cy="689395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1FB02DD8-058B-40C6-B85E-3CF1B28296F6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3768C3-800A-4409-8A50-B68E694CF72F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60F467B-DBA3-4A1F-8AD4-5F15E2DFB4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9BA5727F-8EA2-4B25-8A65-17396D8959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C4EFF58C-098D-4DBE-B150-A05A1498C1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0BBBEE4-A3A2-4329-950B-E56D6573E2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359FDD4-E223-47C9-A07A-069F94AE45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C66F4E3-040F-4AC6-981D-826451AD70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975A1043-2145-48D9-B59A-70A2CA7200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37C9E58-08F8-48ED-B14C-41F09A690E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B27AEB0B-8C69-45A7-8FCC-E4436C3ACFE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FE473A9D-7737-4C3D-BF62-2CC9899935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2F77BD8-6C6D-4E33-853C-E1CC361B76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082B40D-7D10-4932-B7B3-E5F4A4DA78A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6B40ACD-DEF8-400E-AAE5-7DFB71DB12C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1975E9C-8933-4AC0-B32D-789842EF65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E1FCECF0-1B3C-4E66-9D49-E93E797165B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A4E41CA-DCCD-49B7-A252-3F77F7609F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F863B20-88D1-4546-9708-F283FC1CB7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5FE9C95-360F-49F8-8CAB-F096E7D575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8A2A2F1-2783-441E-BF62-F28790B54C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7E1B94F-F5D8-456B-AFFC-6D6B8014E3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91E486A-D8DB-4D08-8B6D-E5D433A9C8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9EB3962-50F1-47E2-9165-6D7EDC0833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C1028C9-8170-408E-936B-10C6B65714A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4C448A1-5EDE-49EE-BEFD-A9B9AFA8DD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530ED0F-61D5-49BC-8FBF-CBFBBE474E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B2D74C5-FD12-4BD1-9A70-CE2E9AF5749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31AF2FB-B1A2-4EB2-B097-FEEA42B50FD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75E928A-8E92-47DA-B73D-12C8D94A21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FDF5F2D-3989-446F-9236-DAFFCEC240A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0A654F5-A607-4D4C-BCDC-9DE8832480E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8FE8A3D-594F-4662-A898-B16D8E2185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9244482-D526-4CF3-ADB6-BDE0A92D944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B0CB5A7-8B3B-4448-A88B-D02B55C3E4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FB2F645-B9B9-4F9F-8819-462990AEA9F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D603EC3-9019-4421-8CD1-23F744B100D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0A948F2-77D6-4B6D-A6F7-A9FA7089EE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C9E5563-46BE-4893-92CD-2C370B9856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FDC529F-B302-44D0-88B6-F81B35711EC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F83611F-74B7-499E-BCF8-EB10A3851F6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9503EBE-2E0A-4FDA-A592-83AB7B2B191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7FE96ADE-012C-4B97-BD80-4522B43E7E7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5" name="Circle: Hollow 54">
              <a:extLst>
                <a:ext uri="{FF2B5EF4-FFF2-40B4-BE49-F238E27FC236}">
                  <a16:creationId xmlns:a16="http://schemas.microsoft.com/office/drawing/2014/main" id="{92B86EB3-2A92-4BD0-9195-8BE56F188DA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926E848-D4D4-D10A-319E-398ECBF9790A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5CA36F7-84B6-691A-39B7-34C81B14850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7366FED-15A7-56BF-6C0A-7ECC821921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0133D6D-D697-CEF7-C6D8-E9F5B69296E7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CE68F2-AEE5-32B8-53C3-F00BAC659941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8383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PAGE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FAD29E6-DFE9-4673-920C-6E26545088E6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0D9795-89E4-442A-AB07-DB9973DB0C26}"/>
              </a:ext>
            </a:extLst>
          </p:cNvPr>
          <p:cNvSpPr txBox="1"/>
          <p:nvPr userDrawn="1"/>
        </p:nvSpPr>
        <p:spPr>
          <a:xfrm>
            <a:off x="179783" y="192389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ARNING OBJECTIVES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43B43F8-9408-4DE6-ADB1-0F55458A9A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171" y="202752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1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4772D6F-1FC4-4476-A44A-08C36474B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171" y="2979306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2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12809E2-9DA5-447E-955E-34FB70D95F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0" y="3925397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3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7A3AD81-254E-4701-8E10-052F58E25B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169" y="4876200"/>
            <a:ext cx="800318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objective 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0FA61AE-BB1F-440B-B9B9-EEF289294A6B}"/>
              </a:ext>
            </a:extLst>
          </p:cNvPr>
          <p:cNvSpPr txBox="1"/>
          <p:nvPr userDrawn="1"/>
        </p:nvSpPr>
        <p:spPr>
          <a:xfrm>
            <a:off x="512169" y="1425240"/>
            <a:ext cx="71721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>
                <a:latin typeface="Ink Free" panose="03080402000500000000" pitchFamily="66" charset="0"/>
              </a:rPr>
              <a:t>By the end of this module you will be able to:</a:t>
            </a:r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2B1BD734-7379-4346-88DF-5BB68C76B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6541791" y="0"/>
            <a:ext cx="5632889" cy="55880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11CD8C8C-63CF-4943-89D3-B5BCA0F16C98}"/>
              </a:ext>
            </a:extLst>
          </p:cNvPr>
          <p:cNvSpPr>
            <a:spLocks noChangeAspect="1"/>
          </p:cNvSpPr>
          <p:nvPr userDrawn="1"/>
        </p:nvSpPr>
        <p:spPr>
          <a:xfrm>
            <a:off x="8515354" y="-476505"/>
            <a:ext cx="4200005" cy="41595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Circle: Hollow 5">
            <a:extLst>
              <a:ext uri="{FF2B5EF4-FFF2-40B4-BE49-F238E27FC236}">
                <a16:creationId xmlns:a16="http://schemas.microsoft.com/office/drawing/2014/main" id="{77FBCCC6-2047-406D-B33D-317698474BB6}"/>
              </a:ext>
            </a:extLst>
          </p:cNvPr>
          <p:cNvSpPr>
            <a:spLocks noChangeAspect="1"/>
          </p:cNvSpPr>
          <p:nvPr userDrawn="1"/>
        </p:nvSpPr>
        <p:spPr>
          <a:xfrm>
            <a:off x="8316004" y="-681353"/>
            <a:ext cx="4604447" cy="4560048"/>
          </a:xfrm>
          <a:prstGeom prst="donut">
            <a:avLst>
              <a:gd name="adj" fmla="val 1425"/>
            </a:avLst>
          </a:prstGeom>
          <a:solidFill>
            <a:schemeClr val="bg2">
              <a:lumMod val="90000"/>
              <a:alpha val="7411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12D982B6-0289-439C-A43F-7FF6B3744AD9}"/>
              </a:ext>
            </a:extLst>
          </p:cNvPr>
          <p:cNvSpPr>
            <a:spLocks noChangeAspect="1"/>
          </p:cNvSpPr>
          <p:nvPr userDrawn="1"/>
        </p:nvSpPr>
        <p:spPr>
          <a:xfrm>
            <a:off x="8471398" y="-514606"/>
            <a:ext cx="4294775" cy="4253363"/>
          </a:xfrm>
          <a:prstGeom prst="donut">
            <a:avLst>
              <a:gd name="adj" fmla="val 26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EB8FEBE-B61F-4667-AB15-3E01E9EFF36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54777" y="-346796"/>
            <a:ext cx="3892823" cy="3892823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555899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6261AAFF-27D6-4C8A-89BA-4AAB5B14A5E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658"/>
          <a:stretch/>
        </p:blipFill>
        <p:spPr bwMode="auto">
          <a:xfrm>
            <a:off x="0" y="0"/>
            <a:ext cx="698131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BC9FE23-3A01-83DE-F2D9-CC6432FC4415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6F9E06E-067C-E557-9D5D-74291230533F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6CC2401-6ADD-9DDA-51E1-AC75E1A941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E592992-B4C6-82AA-8A6F-559ADCCDD912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4887C5E-1F2C-12A4-7136-AFBA8FD5BC4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659963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10">
            <a:extLst>
              <a:ext uri="{FF2B5EF4-FFF2-40B4-BE49-F238E27FC236}">
                <a16:creationId xmlns:a16="http://schemas.microsoft.com/office/drawing/2014/main" id="{E573F0F9-CA34-4471-AB56-0F3FDE313E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560"/>
          <a:stretch/>
        </p:blipFill>
        <p:spPr bwMode="auto">
          <a:xfrm>
            <a:off x="238" y="2606"/>
            <a:ext cx="72103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C98ADBB-608B-A487-304F-DA7D8B55C5C2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49853A4-3FD4-7921-7194-5DEEC180A88F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4A78925-2B2B-D5D7-E6BD-14F064ECF1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3C5E169-94D9-239B-BBE1-C5FD9F962A7E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20B67CE-256C-D19F-BF61-73CEC42D16EF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041557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9207E32E-B2C1-401E-91ED-289434AFCA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47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3B0D3A44-932D-4331-9E10-E770625FF8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89" b="99761" l="0" r="43004">
                        <a14:foregroundMark x1="10914" y1="33971" x2="93" y2="58373"/>
                        <a14:foregroundMark x1="8209" y1="4306" x2="11567" y2="22249"/>
                        <a14:foregroundMark x1="11567" y1="22249" x2="11567" y2="22249"/>
                        <a14:foregroundMark x1="9515" y1="30144" x2="840" y2="49163"/>
                        <a14:foregroundMark x1="840" y1="49163" x2="653" y2="49282"/>
                        <a14:foregroundMark x1="6716" y1="81100" x2="38340" y2="96172"/>
                        <a14:foregroundMark x1="38340" y1="96172" x2="43190" y2="96890"/>
                        <a14:foregroundMark x1="3731" y1="81220" x2="35261" y2="87679"/>
                        <a14:foregroundMark x1="35261" y1="87679" x2="40299" y2="90311"/>
                        <a14:foregroundMark x1="41698" y1="95335" x2="43097" y2="98804"/>
                        <a14:foregroundMark x1="466" y1="94498" x2="33955" y2="96890"/>
                        <a14:foregroundMark x1="6996" y1="83612" x2="24813" y2="96890"/>
                        <a14:foregroundMark x1="29757" y1="98565" x2="37780" y2="99880"/>
                        <a14:foregroundMark x1="8116" y1="30981" x2="2332" y2="36842"/>
                        <a14:foregroundMark x1="15858" y1="41388" x2="19869" y2="49761"/>
                        <a14:foregroundMark x1="7090" y1="29067" x2="2519" y2="36483"/>
                        <a14:foregroundMark x1="2519" y1="36483" x2="2425" y2="36483"/>
                        <a14:foregroundMark x1="7183" y1="4904" x2="7463" y2="12321"/>
                        <a14:foregroundMark x1="9888" y1="3589" x2="10261" y2="7656"/>
                        <a14:foregroundMark x1="21549" y1="56699" x2="21642" y2="58254"/>
                        <a14:foregroundMark x1="27791" y1="80190" x2="28731" y2="80263"/>
                        <a14:foregroundMark x1="25653" y1="80024" x2="26429" y2="80084"/>
                        <a14:foregroundMark x1="26213" y1="79187" x2="26679" y2="79187"/>
                        <a14:foregroundMark x1="41643" y1="89136" x2="42631" y2="93660"/>
                        <a14:foregroundMark x1="33165" y1="84485" x2="34795" y2="85646"/>
                        <a14:foregroundMark x1="34235" y1="84211" x2="34235" y2="84211"/>
                        <a14:foregroundMark x1="34422" y1="84330" x2="34422" y2="84330"/>
                        <a14:foregroundMark x1="34608" y1="84330" x2="34608" y2="84330"/>
                        <a14:foregroundMark x1="33606" y1="84042" x2="34235" y2="84330"/>
                        <a14:backgroundMark x1="24347" y1="61005" x2="34142" y2="77512"/>
                        <a14:backgroundMark x1="34142" y1="77512" x2="35634" y2="77033"/>
                        <a14:backgroundMark x1="24907" y1="73923" x2="32649" y2="78110"/>
                        <a14:backgroundMark x1="32649" y1="78110" x2="33022" y2="78589"/>
                        <a14:backgroundMark x1="27266" y1="78004" x2="28731" y2="78230"/>
                        <a14:backgroundMark x1="26399" y1="77871" x2="26833" y2="77938"/>
                        <a14:backgroundMark x1="36332" y1="83997" x2="36660" y2="83971"/>
                        <a14:backgroundMark x1="6437" y1="24402" x2="373" y2="30861"/>
                        <a14:backgroundMark x1="373" y1="30861" x2="2146" y2="31579"/>
                        <a14:backgroundMark x1="560" y1="35048" x2="560" y2="36244"/>
                        <a14:backgroundMark x1="1119" y1="36244" x2="746" y2="37201"/>
                        <a14:backgroundMark x1="36474" y1="77632" x2="39086" y2="83373"/>
                        <a14:backgroundMark x1="41604" y1="86005" x2="42227" y2="87364"/>
                        <a14:backgroundMark x1="42257" y1="87321" x2="42537" y2="88876"/>
                        <a14:backgroundMark x1="33396" y1="81818" x2="40299" y2="82177"/>
                        <a14:backgroundMark x1="35443" y1="83852" x2="37407" y2="83852"/>
                        <a14:backgroundMark x1="33209" y1="81699" x2="33209" y2="81699"/>
                        <a14:backgroundMark x1="32929" y1="81699" x2="32929" y2="81699"/>
                        <a14:backgroundMark x1="32649" y1="81699" x2="32649" y2="81699"/>
                        <a14:backgroundMark x1="34422" y1="83732" x2="34422" y2="83732"/>
                        <a14:backgroundMark x1="31250" y1="80383" x2="32369" y2="82177"/>
                        <a14:backgroundMark x1="31903" y1="81699" x2="33675" y2="83971"/>
                        <a14:backgroundMark x1="27612" y1="78349" x2="28638" y2="789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5360"/>
          <a:stretch/>
        </p:blipFill>
        <p:spPr bwMode="auto">
          <a:xfrm>
            <a:off x="-27525" y="175886"/>
            <a:ext cx="4020928" cy="6707992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B21460F-2212-7892-8008-106A2BF32084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570D798-1157-3BAB-715D-9F0D5504E7B0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F89D248-69AE-0CCD-6FD3-5E244798D5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9953826-2ACC-3989-E28F-9F53D5364816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6AFDBD1-22F4-31F9-3CA4-7F232184CF5F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38103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A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20ADC257-02FB-4A7B-B271-AE9B32D1B3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81" y="0"/>
            <a:ext cx="80756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31C27CDD-E521-4D44-885E-AB87A77D426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98732" l="180" r="51706">
                        <a14:foregroundMark x1="21364" y1="13531" x2="15889" y2="37209"/>
                        <a14:foregroundMark x1="26391" y1="16490" x2="36266" y2="42495"/>
                        <a14:foregroundMark x1="36266" y1="42495" x2="36355" y2="43658"/>
                        <a14:foregroundMark x1="359" y1="29598" x2="15081" y2="30233"/>
                        <a14:foregroundMark x1="10682" y1="26321" x2="9246" y2="30550"/>
                        <a14:foregroundMark x1="21095" y1="29810" x2="24417" y2="36469"/>
                        <a14:foregroundMark x1="808" y1="65751" x2="3501" y2="98837"/>
                        <a14:foregroundMark x1="1077" y1="96617" x2="1077" y2="96617"/>
                        <a14:foregroundMark x1="19300" y1="91438" x2="41023" y2="93763"/>
                        <a14:foregroundMark x1="41023" y1="93763" x2="45781" y2="97252"/>
                        <a14:foregroundMark x1="27828" y1="97252" x2="38959" y2="97357"/>
                        <a14:foregroundMark x1="19659" y1="92600" x2="45601" y2="73467"/>
                        <a14:foregroundMark x1="45601" y1="73467" x2="50718" y2="66808"/>
                        <a14:foregroundMark x1="50718" y1="66808" x2="50987" y2="65751"/>
                        <a14:foregroundMark x1="48115" y1="73362" x2="44844" y2="82321"/>
                        <a14:foregroundMark x1="49372" y1="72622" x2="48333" y2="77592"/>
                        <a14:foregroundMark x1="49192" y1="75370" x2="49124" y2="76188"/>
                        <a14:foregroundMark x1="6732" y1="24630" x2="5386" y2="29493"/>
                        <a14:foregroundMark x1="359" y1="28330" x2="7361" y2="28858"/>
                        <a14:foregroundMark x1="31598" y1="76321" x2="36445" y2="71987"/>
                        <a14:foregroundMark x1="36445" y1="71987" x2="36445" y2="71987"/>
                        <a14:foregroundMark x1="51706" y1="65328" x2="51706" y2="65328"/>
                        <a14:foregroundMark x1="2693" y1="57082" x2="808" y2="66702"/>
                        <a14:foregroundMark x1="628" y1="57822" x2="1257" y2="64482"/>
                        <a14:foregroundMark x1="36715" y1="71036" x2="36715" y2="72727"/>
                        <a14:foregroundMark x1="29623" y1="44715" x2="29533" y2="46300"/>
                        <a14:foregroundMark x1="47038" y1="79070" x2="46409" y2="84567"/>
                        <a14:foregroundMark x1="45871" y1="84249" x2="40305" y2="86892"/>
                        <a14:foregroundMark x1="41293" y1="86469" x2="39677" y2="89218"/>
                        <a14:foregroundMark x1="48115" y1="79281" x2="48115" y2="79493"/>
                        <a14:foregroundMark x1="47127" y1="79493" x2="48115" y2="82030"/>
                        <a14:backgroundMark x1="16338" y1="69027" x2="45961" y2="57400"/>
                        <a14:backgroundMark x1="42255" y1="87987" x2="44704" y2="87421"/>
                        <a14:backgroundMark x1="16068" y1="66702" x2="34111" y2="60359"/>
                        <a14:backgroundMark x1="20916" y1="62579" x2="31329" y2="55074"/>
                        <a14:backgroundMark x1="31329" y1="55074" x2="36804" y2="46300"/>
                        <a14:backgroundMark x1="14632" y1="60571" x2="17594" y2="64482"/>
                        <a14:backgroundMark x1="18851" y1="73679" x2="23160" y2="78753"/>
                        <a14:backgroundMark x1="48474" y1="77907" x2="48474" y2="77907"/>
                        <a14:backgroundMark x1="48025" y1="77907" x2="49551" y2="78436"/>
                        <a14:backgroundMark x1="47756" y1="78013" x2="49192" y2="77484"/>
                        <a14:backgroundMark x1="48384" y1="77590" x2="48419" y2="788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969" r="45115"/>
          <a:stretch/>
        </p:blipFill>
        <p:spPr bwMode="auto">
          <a:xfrm>
            <a:off x="-9526" y="820852"/>
            <a:ext cx="4429125" cy="6046674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80585C4-AB2E-DC80-421A-63995DDB3264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81B1876-84F5-8EF0-55DD-95047D7273D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1DA6495-EFD8-5368-E822-CB12D10E5A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90124FF-DF75-815F-B3A8-82B0D23D56C0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68E84B-B136-E65C-D327-DBFEC652BCE6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492402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4">
            <a:extLst>
              <a:ext uri="{FF2B5EF4-FFF2-40B4-BE49-F238E27FC236}">
                <a16:creationId xmlns:a16="http://schemas.microsoft.com/office/drawing/2014/main" id="{FA03A50D-6AE3-4A1A-82A4-F1160A10AD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2" y="0"/>
            <a:ext cx="700241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5842069-7D79-609D-62BA-D752CC29D3E1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0C6FCDC-F637-E2EB-294D-790554A569FF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24F3841-99A2-1376-A986-B7D411C73A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E21F196-40C6-E612-8128-B36A7FE5C9F6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BF8C77C-1315-AE64-29EE-465A8D836F35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274728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1FD565F1-CE52-423C-837B-CE26808A59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489" y="0"/>
            <a:ext cx="84178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id="{DAA12FF9-FC73-42F4-A8C0-06B425D68C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68" b="98928" l="29966" r="98485">
                        <a14:foregroundMark x1="58670" y1="21651" x2="60606" y2="30975"/>
                        <a14:foregroundMark x1="60606" y1="30975" x2="61195" y2="31940"/>
                        <a14:foregroundMark x1="62121" y1="32476" x2="67677" y2="50589"/>
                        <a14:foregroundMark x1="60859" y1="32797" x2="60774" y2="36549"/>
                        <a14:foregroundMark x1="59343" y1="34834" x2="59343" y2="34834"/>
                        <a14:foregroundMark x1="60185" y1="36013" x2="60185" y2="36013"/>
                        <a14:foregroundMark x1="70792" y1="86884" x2="70519" y2="87509"/>
                        <a14:foregroundMark x1="88300" y1="46838" x2="70840" y2="86774"/>
                        <a14:foregroundMark x1="71676" y1="88909" x2="75000" y2="88103"/>
                        <a14:foregroundMark x1="82660" y1="45766" x2="93182" y2="89496"/>
                        <a14:foregroundMark x1="96549" y1="48982" x2="92424" y2="84995"/>
                        <a14:foregroundMark x1="92424" y1="84995" x2="93687" y2="96677"/>
                        <a14:foregroundMark x1="93687" y1="96677" x2="95034" y2="98821"/>
                        <a14:foregroundMark x1="98401" y1="50375" x2="98485" y2="99035"/>
                        <a14:foregroundMark x1="71465" y1="10825" x2="81987" y2="60986"/>
                        <a14:foregroundMark x1="76936" y1="13076" x2="81734" y2="52840"/>
                        <a14:foregroundMark x1="83053" y1="32690" x2="83169" y2="33332"/>
                        <a14:foregroundMark x1="79798" y1="14684" x2="83053" y2="32690"/>
                        <a14:foregroundMark x1="67593" y1="11040" x2="76347" y2="60986"/>
                        <a14:foregroundMark x1="69192" y1="41050" x2="68098" y2="43087"/>
                        <a14:foregroundMark x1="39899" y1="85102" x2="29966" y2="87567"/>
                        <a14:backgroundMark x1="54293" y1="15541" x2="47391" y2="78778"/>
                        <a14:backgroundMark x1="54882" y1="26367" x2="59512" y2="71919"/>
                        <a14:backgroundMark x1="70034" y1="51661" x2="60774" y2="65380"/>
                        <a14:backgroundMark x1="83670" y1="40943" x2="83670" y2="40943"/>
                        <a14:backgroundMark x1="83586" y1="42122" x2="83586" y2="35906"/>
                        <a14:backgroundMark x1="83165" y1="33333" x2="85101" y2="43194"/>
                        <a14:backgroundMark x1="83249" y1="32690" x2="83249" y2="32690"/>
                        <a14:backgroundMark x1="83249" y1="33226" x2="83249" y2="33226"/>
                        <a14:backgroundMark x1="70455" y1="87460" x2="64057" y2="99250"/>
                        <a14:backgroundMark x1="57660" y1="93783" x2="56566" y2="94105"/>
                        <a14:backgroundMark x1="71633" y1="88639" x2="71633" y2="88639"/>
                        <a14:backgroundMark x1="71886" y1="89603" x2="71128" y2="87996"/>
                        <a14:backgroundMark x1="72054" y1="88853" x2="72054" y2="88853"/>
                        <a14:backgroundMark x1="71970" y1="89175" x2="71970" y2="891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235"/>
          <a:stretch/>
        </p:blipFill>
        <p:spPr bwMode="auto">
          <a:xfrm flipH="1">
            <a:off x="57" y="0"/>
            <a:ext cx="60410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39FBC56-E519-80BA-FDF0-B9DE7824CA9F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AABE31C-038E-92C1-B736-EF6AC0A5FA6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1912D5C-C684-3AFD-163E-98A73C9486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97C73A2-5A10-FEAF-3FF4-4531FB7D802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6F5A29A-42B5-98DC-E415-B730C9E98B63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43312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S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B7E2BD9D-D657-4CE8-842A-767172F34A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1968" y="0"/>
            <a:ext cx="728432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F7FBFF91-A105-41A9-866A-189BD0AE5F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36" b="99466" l="65302" r="96520">
                        <a14:foregroundMark x1="96622" y1="59188" x2="96520" y2="61111"/>
                        <a14:foregroundMark x1="96622" y1="54701" x2="95906" y2="56944"/>
                        <a14:foregroundMark x1="82600" y1="24573" x2="80348" y2="27457"/>
                        <a14:foregroundMark x1="84749" y1="22436" x2="90276" y2="24038"/>
                        <a14:foregroundMark x1="67451" y1="63034" x2="65404" y2="64103"/>
                        <a14:foregroundMark x1="94063" y1="77350" x2="95906" y2="99466"/>
                        <a14:foregroundMark x1="78506" y1="83120" x2="73900" y2="98504"/>
                        <a14:foregroundMark x1="87206" y1="22650" x2="87206" y2="22650"/>
                        <a14:foregroundMark x1="87206" y1="22329" x2="85466" y2="22222"/>
                        <a14:backgroundMark x1="72979" y1="91239" x2="71341" y2="99573"/>
                        <a14:backgroundMark x1="85670" y1="21902" x2="85670" y2="219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474"/>
          <a:stretch/>
        </p:blipFill>
        <p:spPr bwMode="auto">
          <a:xfrm flipH="1">
            <a:off x="-35859" y="-46506"/>
            <a:ext cx="2680288" cy="690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3BFA4-F23F-C000-BF01-0FFD32ACD2F2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B471C0C-3DC8-DB74-E73B-218B3EBF9AC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F04633C-4D3B-78BE-7C20-96C608AF21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1083733-BCE4-24CF-56BC-1E53886F8063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FB76EC5-D94A-8AC3-2400-25DCBCA24C4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062765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B84BBC7B-39A7-4D33-8578-775F6C133E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7130921" cy="686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3B35ECB-F008-9F05-F162-6D31D3EABD47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ADF9AAF-7482-E367-940A-DC748ABA178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B849747-16CB-2396-E5A7-1BB2A7C972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259F276-0C30-E230-C546-A794BA654760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06F2B9B-E75A-856E-53E2-0292CD3D3515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906903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18DE8AAD-FEFC-4530-86CB-BEBAEEEFC7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392" y="494278"/>
            <a:ext cx="7282925" cy="6363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FFC93946-E9C1-47E2-BDD7-231CD60BB7C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299" b="99485" l="0" r="45405">
                        <a14:foregroundMark x1="17568" y1="3299" x2="24775" y2="15979"/>
                        <a14:foregroundMark x1="9550" y1="38454" x2="23604" y2="78144"/>
                        <a14:foregroundMark x1="23604" y1="78144" x2="37748" y2="99485"/>
                        <a14:foregroundMark x1="36757" y1="38041" x2="1081" y2="93299"/>
                        <a14:foregroundMark x1="7387" y1="39897" x2="631" y2="43402"/>
                        <a14:foregroundMark x1="631" y1="43402" x2="0" y2="44948"/>
                        <a14:foregroundMark x1="40360" y1="48454" x2="45405" y2="65464"/>
                        <a14:foregroundMark x1="34595" y1="70722" x2="35766" y2="82784"/>
                        <a14:foregroundMark x1="9730" y1="94742" x2="13423" y2="98866"/>
                        <a14:foregroundMark x1="13784" y1="14845" x2="23153" y2="22062"/>
                        <a14:foregroundMark x1="21712" y1="15567" x2="23243" y2="22371"/>
                        <a14:foregroundMark x1="12613" y1="14845" x2="15495" y2="21856"/>
                        <a14:foregroundMark x1="9009" y1="18557" x2="9550" y2="20412"/>
                        <a14:foregroundMark x1="10270" y1="23711" x2="10541" y2="24948"/>
                        <a14:foregroundMark x1="10028" y1="25361" x2="10090" y2="26495"/>
                        <a14:foregroundMark x1="10000" y1="24845" x2="10028" y2="25361"/>
                        <a14:foregroundMark x1="10541" y1="27010" x2="11622" y2="26701"/>
                        <a14:foregroundMark x1="25225" y1="24845" x2="25676" y2="26289"/>
                        <a14:foregroundMark x1="25315" y1="26082" x2="25045" y2="27320"/>
                        <a14:foregroundMark x1="11351" y1="25258" x2="11351" y2="25258"/>
                        <a14:foregroundMark x1="12162" y1="34845" x2="12162" y2="34845"/>
                        <a14:foregroundMark x1="12703" y1="34536" x2="12703" y2="34536"/>
                        <a14:foregroundMark x1="10360" y1="37835" x2="10360" y2="37835"/>
                        <a14:foregroundMark x1="27658" y1="36392" x2="27658" y2="36392"/>
                        <a14:backgroundMark x1="31171" y1="26392" x2="42342" y2="31959"/>
                        <a14:backgroundMark x1="30090" y1="35258" x2="30090" y2="35258"/>
                        <a14:backgroundMark x1="33153" y1="35670" x2="36757" y2="36495"/>
                        <a14:backgroundMark x1="25045" y1="26186" x2="25045" y2="26186"/>
                        <a14:backgroundMark x1="9820" y1="23711" x2="9820" y2="23711"/>
                        <a14:backgroundMark x1="10901" y1="25361" x2="10901" y2="25361"/>
                        <a14:backgroundMark x1="10721" y1="24845" x2="10721" y2="24845"/>
                        <a14:backgroundMark x1="12072" y1="34845" x2="12072" y2="348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3566"/>
          <a:stretch/>
        </p:blipFill>
        <p:spPr bwMode="auto">
          <a:xfrm>
            <a:off x="-9046" y="691342"/>
            <a:ext cx="3368018" cy="61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EC5C522-94D4-33F0-BBCE-74741DAEF59D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67EF5C7-3FF3-7429-84BA-286E9D09280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05E35C-1728-F411-2A29-1A5D9FF41D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56B2356-EEFB-8220-A1B7-74FCB4640439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4EA3E79-C4C6-D922-A13B-DD7F9F17AA04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094327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W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28B3ECE0-8905-43FD-8F36-C1CFE1BA27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501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79D23DAE-CA4D-43DB-81D3-233899ABDF9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127" b="99688" l="96" r="38182">
                        <a14:foregroundMark x1="10622" y1="19127" x2="18182" y2="28586"/>
                        <a14:foregroundMark x1="17432" y1="19975" x2="22070" y2="29665"/>
                        <a14:foregroundMark x1="12057" y1="25572" x2="96" y2="49688"/>
                        <a14:foregroundMark x1="13110" y1="29210" x2="13397" y2="33472"/>
                        <a14:foregroundMark x1="27870" y1="30497" x2="24593" y2="74428"/>
                        <a14:foregroundMark x1="24593" y1="74428" x2="24593" y2="74428"/>
                        <a14:foregroundMark x1="31770" y1="48649" x2="33876" y2="63825"/>
                        <a14:foregroundMark x1="33876" y1="63825" x2="33493" y2="67048"/>
                        <a14:foregroundMark x1="29569" y1="58316" x2="28134" y2="69335"/>
                        <a14:foregroundMark x1="28134" y1="68295" x2="24880" y2="78067"/>
                        <a14:foregroundMark x1="24306" y1="71830" x2="23062" y2="88150"/>
                        <a14:foregroundMark x1="23062" y1="88150" x2="25167" y2="92827"/>
                        <a14:foregroundMark x1="11005" y1="84304" x2="6603" y2="96258"/>
                        <a14:foregroundMark x1="6603" y1="96258" x2="3158" y2="99792"/>
                        <a14:foregroundMark x1="4498" y1="81809" x2="3158" y2="96778"/>
                        <a14:foregroundMark x1="3158" y1="96778" x2="2871" y2="97505"/>
                        <a14:foregroundMark x1="9856" y1="94699" x2="19426" y2="98441"/>
                        <a14:foregroundMark x1="23349" y1="90333" x2="26411" y2="99896"/>
                        <a14:foregroundMark x1="24976" y1="92620" x2="28134" y2="99272"/>
                        <a14:foregroundMark x1="28134" y1="99272" x2="28134" y2="99272"/>
                        <a14:foregroundMark x1="27560" y1="85655" x2="27560" y2="85655"/>
                        <a14:foregroundMark x1="26603" y1="93555" x2="29187" y2="99896"/>
                        <a14:foregroundMark x1="34737" y1="33992" x2="38086" y2="35863"/>
                        <a14:foregroundMark x1="38182" y1="33160" x2="37608" y2="35551"/>
                        <a14:foregroundMark x1="36364" y1="32744" x2="37321" y2="33160"/>
                        <a14:foregroundMark x1="28038" y1="83992" x2="28038" y2="83992"/>
                        <a14:foregroundMark x1="28325" y1="68295" x2="31579" y2="72661"/>
                        <a14:backgroundMark x1="4402" y1="19751" x2="4211" y2="26403"/>
                        <a14:backgroundMark x1="15311" y1="18711" x2="17608" y2="19751"/>
                        <a14:backgroundMark x1="26316" y1="26299" x2="26603" y2="28690"/>
                        <a14:backgroundMark x1="26411" y1="27131" x2="23158" y2="30977"/>
                        <a14:backgroundMark x1="27368" y1="29210" x2="30144" y2="28690"/>
                        <a14:backgroundMark x1="20861" y1="34927" x2="20861" y2="34927"/>
                        <a14:backgroundMark x1="22105" y1="31913" x2="22105" y2="31913"/>
                        <a14:backgroundMark x1="4211" y1="30353" x2="4211" y2="30353"/>
                        <a14:backgroundMark x1="4306" y1="27651" x2="4306" y2="27651"/>
                        <a14:backgroundMark x1="4976" y1="25364" x2="4976" y2="270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576" r="59636"/>
          <a:stretch/>
        </p:blipFill>
        <p:spPr bwMode="auto">
          <a:xfrm>
            <a:off x="0" y="1205379"/>
            <a:ext cx="3007187" cy="5652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9FDFBCC-9650-FE73-A723-BB095BC7CC3F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397A468-8D30-5492-5F72-F65E5CDC701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6CF6913-7293-CC74-C208-C51518957F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EF3B06-6624-CF7B-C337-9DA9A494D428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A69FDCB-E391-253D-DCF2-76017F7472AD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9663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JOURNEY P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C2FBE1E5-51E3-4916-BD9B-6CE59EF4F0E8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78DBB3-8CBA-44B0-8448-554392206DAD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 descr="Shape, circle&#10;&#10;Description automatically generated">
            <a:extLst>
              <a:ext uri="{FF2B5EF4-FFF2-40B4-BE49-F238E27FC236}">
                <a16:creationId xmlns:a16="http://schemas.microsoft.com/office/drawing/2014/main" id="{1E14698F-2DFE-4ABC-8776-F961CD13B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36" t="10732"/>
          <a:stretch/>
        </p:blipFill>
        <p:spPr>
          <a:xfrm rot="10800000" flipV="1">
            <a:off x="7687124" y="0"/>
            <a:ext cx="4498458" cy="439874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D590678-8D03-4720-9986-71EBEAE6C458}"/>
              </a:ext>
            </a:extLst>
          </p:cNvPr>
          <p:cNvSpPr txBox="1"/>
          <p:nvPr userDrawn="1"/>
        </p:nvSpPr>
        <p:spPr>
          <a:xfrm>
            <a:off x="179783" y="192389"/>
            <a:ext cx="56813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ODAYS LEARNING JOURNEY</a:t>
            </a:r>
            <a:endParaRPr lang="nl-NL" sz="1200" b="1">
              <a:solidFill>
                <a:srgbClr val="00AEEF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2A9B796-681C-FC05-B801-8A6881AA929F}"/>
              </a:ext>
            </a:extLst>
          </p:cNvPr>
          <p:cNvSpPr>
            <a:spLocks noChangeAspect="1"/>
          </p:cNvSpPr>
          <p:nvPr userDrawn="1"/>
        </p:nvSpPr>
        <p:spPr>
          <a:xfrm>
            <a:off x="6850914" y="3344332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04D57CC-3000-0FF7-8027-F48B511BF74C}"/>
              </a:ext>
            </a:extLst>
          </p:cNvPr>
          <p:cNvSpPr>
            <a:spLocks noChangeAspect="1"/>
          </p:cNvSpPr>
          <p:nvPr userDrawn="1"/>
        </p:nvSpPr>
        <p:spPr>
          <a:xfrm>
            <a:off x="1337099" y="1033230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0A231FD-1B2A-6BB2-93C7-ADC998675027}"/>
              </a:ext>
            </a:extLst>
          </p:cNvPr>
          <p:cNvSpPr>
            <a:spLocks noChangeAspect="1"/>
          </p:cNvSpPr>
          <p:nvPr userDrawn="1"/>
        </p:nvSpPr>
        <p:spPr>
          <a:xfrm>
            <a:off x="9815484" y="3530889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D5BC00F-8D2D-6854-01B6-66AAEE2D5047}"/>
              </a:ext>
            </a:extLst>
          </p:cNvPr>
          <p:cNvSpPr>
            <a:spLocks noChangeAspect="1"/>
          </p:cNvSpPr>
          <p:nvPr userDrawn="1"/>
        </p:nvSpPr>
        <p:spPr>
          <a:xfrm>
            <a:off x="4830332" y="909935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D003969-586A-2D05-1205-753F41C2CE54}"/>
              </a:ext>
            </a:extLst>
          </p:cNvPr>
          <p:cNvSpPr>
            <a:spLocks noChangeAspect="1"/>
          </p:cNvSpPr>
          <p:nvPr userDrawn="1"/>
        </p:nvSpPr>
        <p:spPr>
          <a:xfrm>
            <a:off x="5148535" y="3911810"/>
            <a:ext cx="295185" cy="292339"/>
          </a:xfrm>
          <a:prstGeom prst="ellipse">
            <a:avLst/>
          </a:prstGeom>
          <a:solidFill>
            <a:srgbClr val="BF3B4B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EEE81F8-D6AE-62FB-B966-3E99618774E0}"/>
              </a:ext>
            </a:extLst>
          </p:cNvPr>
          <p:cNvSpPr>
            <a:spLocks noChangeAspect="1"/>
          </p:cNvSpPr>
          <p:nvPr userDrawn="1"/>
        </p:nvSpPr>
        <p:spPr>
          <a:xfrm>
            <a:off x="7609007" y="5642599"/>
            <a:ext cx="288593" cy="28581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E2D6E7-5053-9CDE-34F4-36073D7A7159}"/>
              </a:ext>
            </a:extLst>
          </p:cNvPr>
          <p:cNvSpPr>
            <a:spLocks noChangeAspect="1"/>
          </p:cNvSpPr>
          <p:nvPr userDrawn="1"/>
        </p:nvSpPr>
        <p:spPr>
          <a:xfrm>
            <a:off x="5679153" y="5184275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B50BE69-3623-33B7-E0DD-7B0A388EC1C2}"/>
              </a:ext>
            </a:extLst>
          </p:cNvPr>
          <p:cNvSpPr>
            <a:spLocks noChangeAspect="1"/>
          </p:cNvSpPr>
          <p:nvPr userDrawn="1"/>
        </p:nvSpPr>
        <p:spPr>
          <a:xfrm>
            <a:off x="8582306" y="5772209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77C7AB-81F8-6E1B-031C-C4856E7C2800}"/>
              </a:ext>
            </a:extLst>
          </p:cNvPr>
          <p:cNvSpPr>
            <a:spLocks noChangeAspect="1"/>
          </p:cNvSpPr>
          <p:nvPr userDrawn="1"/>
        </p:nvSpPr>
        <p:spPr>
          <a:xfrm>
            <a:off x="8151040" y="56808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EFAD874-280C-4265-2341-AD62A6E5B028}"/>
              </a:ext>
            </a:extLst>
          </p:cNvPr>
          <p:cNvSpPr>
            <a:spLocks noChangeAspect="1"/>
          </p:cNvSpPr>
          <p:nvPr userDrawn="1"/>
        </p:nvSpPr>
        <p:spPr>
          <a:xfrm>
            <a:off x="5373882" y="4329050"/>
            <a:ext cx="320614" cy="317523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2725013-5574-370A-9EAE-ADFCBCF22D0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185123" y="5680825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6E332A7-17EE-74C8-C6BA-785B91C19546}"/>
              </a:ext>
            </a:extLst>
          </p:cNvPr>
          <p:cNvSpPr>
            <a:spLocks noChangeAspect="1"/>
          </p:cNvSpPr>
          <p:nvPr userDrawn="1"/>
        </p:nvSpPr>
        <p:spPr>
          <a:xfrm>
            <a:off x="5934479" y="5633665"/>
            <a:ext cx="97931" cy="96987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A955666-F91F-6624-1C65-F431D7D295D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9227772" y="5767280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3E2930E-D0A4-80BC-EA08-123AD3E599A6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543364" y="5740455"/>
            <a:ext cx="92953" cy="9205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A736717-9F34-1DB7-594B-01D16D028D8C}"/>
              </a:ext>
            </a:extLst>
          </p:cNvPr>
          <p:cNvSpPr>
            <a:spLocks noChangeAspect="1"/>
          </p:cNvSpPr>
          <p:nvPr userDrawn="1"/>
        </p:nvSpPr>
        <p:spPr>
          <a:xfrm>
            <a:off x="5919967" y="5307367"/>
            <a:ext cx="179675" cy="1779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C684BBB-276C-F2E3-780D-52762A820E97}"/>
              </a:ext>
            </a:extLst>
          </p:cNvPr>
          <p:cNvSpPr>
            <a:spLocks noChangeAspect="1"/>
          </p:cNvSpPr>
          <p:nvPr userDrawn="1"/>
        </p:nvSpPr>
        <p:spPr>
          <a:xfrm>
            <a:off x="7956645" y="5841600"/>
            <a:ext cx="116477" cy="115354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E988779-1403-7ADA-9065-C702CC9DCACD}"/>
              </a:ext>
            </a:extLst>
          </p:cNvPr>
          <p:cNvSpPr>
            <a:spLocks noChangeAspect="1"/>
          </p:cNvSpPr>
          <p:nvPr userDrawn="1"/>
        </p:nvSpPr>
        <p:spPr>
          <a:xfrm>
            <a:off x="8971469" y="5973751"/>
            <a:ext cx="88290" cy="87439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E51FCF6-9E54-C39B-2395-139575D2E056}"/>
              </a:ext>
            </a:extLst>
          </p:cNvPr>
          <p:cNvSpPr>
            <a:spLocks noChangeAspect="1"/>
          </p:cNvSpPr>
          <p:nvPr userDrawn="1"/>
        </p:nvSpPr>
        <p:spPr>
          <a:xfrm>
            <a:off x="636112" y="2249118"/>
            <a:ext cx="1148993" cy="1137914"/>
          </a:xfrm>
          <a:prstGeom prst="ellipse">
            <a:avLst/>
          </a:prstGeom>
          <a:gradFill flip="none" rotWithShape="1">
            <a:gsLst>
              <a:gs pos="0">
                <a:srgbClr val="00AEEF">
                  <a:alpha val="17000"/>
                </a:srgbClr>
              </a:gs>
              <a:gs pos="65000">
                <a:srgbClr val="A3C7E7"/>
              </a:gs>
            </a:gsLst>
            <a:lin ang="189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6" name="Circle: Hollow 85">
            <a:extLst>
              <a:ext uri="{FF2B5EF4-FFF2-40B4-BE49-F238E27FC236}">
                <a16:creationId xmlns:a16="http://schemas.microsoft.com/office/drawing/2014/main" id="{A76DAC42-FBC6-8B17-4AB5-F4E25FFFF0BE}"/>
              </a:ext>
            </a:extLst>
          </p:cNvPr>
          <p:cNvSpPr>
            <a:spLocks noChangeAspect="1"/>
          </p:cNvSpPr>
          <p:nvPr userDrawn="1"/>
        </p:nvSpPr>
        <p:spPr>
          <a:xfrm>
            <a:off x="414665" y="2028787"/>
            <a:ext cx="1599456" cy="1584033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F04585D-F20D-FC9D-6566-18AE581BC58F}"/>
              </a:ext>
            </a:extLst>
          </p:cNvPr>
          <p:cNvSpPr>
            <a:spLocks noChangeAspect="1"/>
          </p:cNvSpPr>
          <p:nvPr userDrawn="1"/>
        </p:nvSpPr>
        <p:spPr>
          <a:xfrm>
            <a:off x="9719751" y="5154940"/>
            <a:ext cx="814714" cy="806857"/>
          </a:xfrm>
          <a:prstGeom prst="ellipse">
            <a:avLst/>
          </a:prstGeom>
          <a:gradFill>
            <a:gsLst>
              <a:gs pos="18000">
                <a:srgbClr val="FFC000">
                  <a:alpha val="28000"/>
                </a:srgbClr>
              </a:gs>
              <a:gs pos="73000">
                <a:srgbClr val="BF3B4B">
                  <a:alpha val="94000"/>
                </a:srgbClr>
              </a:gs>
            </a:gsLst>
            <a:lin ang="81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88" name="Circle: Hollow 87">
            <a:extLst>
              <a:ext uri="{FF2B5EF4-FFF2-40B4-BE49-F238E27FC236}">
                <a16:creationId xmlns:a16="http://schemas.microsoft.com/office/drawing/2014/main" id="{9F4D8B2C-840B-D01A-3A9E-A8BD59AA2D57}"/>
              </a:ext>
            </a:extLst>
          </p:cNvPr>
          <p:cNvSpPr>
            <a:spLocks noChangeAspect="1"/>
          </p:cNvSpPr>
          <p:nvPr userDrawn="1"/>
        </p:nvSpPr>
        <p:spPr>
          <a:xfrm>
            <a:off x="9450979" y="4887551"/>
            <a:ext cx="1347636" cy="1334641"/>
          </a:xfrm>
          <a:prstGeom prst="donut">
            <a:avLst>
              <a:gd name="adj" fmla="val 5617"/>
            </a:avLst>
          </a:prstGeom>
          <a:gradFill>
            <a:gsLst>
              <a:gs pos="18000">
                <a:srgbClr val="FFC000">
                  <a:alpha val="28000"/>
                </a:srgbClr>
              </a:gs>
              <a:gs pos="53000">
                <a:srgbClr val="BF3B4B">
                  <a:alpha val="59000"/>
                </a:srgbClr>
              </a:gs>
            </a:gsLst>
            <a:lin ang="81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2DD5F8F-772B-BF56-A012-57BABE8C5963}"/>
              </a:ext>
            </a:extLst>
          </p:cNvPr>
          <p:cNvSpPr>
            <a:spLocks noChangeAspect="1"/>
          </p:cNvSpPr>
          <p:nvPr userDrawn="1"/>
        </p:nvSpPr>
        <p:spPr>
          <a:xfrm>
            <a:off x="6778694" y="4972500"/>
            <a:ext cx="677600" cy="671066"/>
          </a:xfrm>
          <a:prstGeom prst="ellipse">
            <a:avLst/>
          </a:prstGeom>
          <a:solidFill>
            <a:srgbClr val="FFC000">
              <a:alpha val="6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0" name="Circle: Hollow 89">
            <a:extLst>
              <a:ext uri="{FF2B5EF4-FFF2-40B4-BE49-F238E27FC236}">
                <a16:creationId xmlns:a16="http://schemas.microsoft.com/office/drawing/2014/main" id="{C329B1C0-B506-F550-E322-8088CD268F53}"/>
              </a:ext>
            </a:extLst>
          </p:cNvPr>
          <p:cNvSpPr>
            <a:spLocks noChangeAspect="1"/>
          </p:cNvSpPr>
          <p:nvPr userDrawn="1"/>
        </p:nvSpPr>
        <p:spPr>
          <a:xfrm>
            <a:off x="6491797" y="4713475"/>
            <a:ext cx="1223945" cy="1212142"/>
          </a:xfrm>
          <a:prstGeom prst="donut">
            <a:avLst>
              <a:gd name="adj" fmla="val 5617"/>
            </a:avLst>
          </a:prstGeom>
          <a:solidFill>
            <a:srgbClr val="FFC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9D9E339D-6D54-2937-B83D-FA25207E44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95631" y="1279200"/>
            <a:ext cx="1939546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992E9196-DCF6-FB8F-4860-3B53819E96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65492" y="3636359"/>
            <a:ext cx="1871857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94" name="Text Placeholder 5">
            <a:extLst>
              <a:ext uri="{FF2B5EF4-FFF2-40B4-BE49-F238E27FC236}">
                <a16:creationId xmlns:a16="http://schemas.microsoft.com/office/drawing/2014/main" id="{BC1947F3-A566-F4B6-A1F0-9F328095B5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05318" y="3780312"/>
            <a:ext cx="1736030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E2AA8F80-28C6-C74A-FB86-1DABAAD02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27558" y="1768061"/>
            <a:ext cx="2702699" cy="11033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3600" b="1">
                <a:solidFill>
                  <a:srgbClr val="00AEEF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Duration HH:MM</a:t>
            </a:r>
          </a:p>
        </p:txBody>
      </p:sp>
      <p:pic>
        <p:nvPicPr>
          <p:cNvPr id="97" name="Picture 2">
            <a:extLst>
              <a:ext uri="{FF2B5EF4-FFF2-40B4-BE49-F238E27FC236}">
                <a16:creationId xmlns:a16="http://schemas.microsoft.com/office/drawing/2014/main" id="{989FBA72-E131-2D43-753B-634D4E4B1E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867" y="1124796"/>
            <a:ext cx="586413" cy="58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F526CF92-4BC8-C87E-9CDB-38E1BBEA91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029" y="2164649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0070C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101" name="Text Placeholder 5">
            <a:extLst>
              <a:ext uri="{FF2B5EF4-FFF2-40B4-BE49-F238E27FC236}">
                <a16:creationId xmlns:a16="http://schemas.microsoft.com/office/drawing/2014/main" id="{4FB23508-D5D2-DD69-AD89-8AB925DEB2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61861" y="4659400"/>
            <a:ext cx="1435056" cy="1328056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chemeClr val="accent4">
                    <a:lumMod val="75000"/>
                  </a:schemeClr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C9899234-C1B7-878B-39B1-15D26D18E6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7269" y="4908932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C0000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103" name="Circle: Hollow 102">
            <a:extLst>
              <a:ext uri="{FF2B5EF4-FFF2-40B4-BE49-F238E27FC236}">
                <a16:creationId xmlns:a16="http://schemas.microsoft.com/office/drawing/2014/main" id="{E131F1AD-0329-9DA7-4686-F3748DBF5F74}"/>
              </a:ext>
            </a:extLst>
          </p:cNvPr>
          <p:cNvSpPr>
            <a:spLocks noChangeAspect="1"/>
          </p:cNvSpPr>
          <p:nvPr userDrawn="1"/>
        </p:nvSpPr>
        <p:spPr>
          <a:xfrm>
            <a:off x="4762143" y="2378246"/>
            <a:ext cx="1363155" cy="1350010"/>
          </a:xfrm>
          <a:prstGeom prst="donut">
            <a:avLst>
              <a:gd name="adj" fmla="val 9461"/>
            </a:avLst>
          </a:prstGeom>
          <a:solidFill>
            <a:schemeClr val="tx1">
              <a:lumMod val="50000"/>
              <a:lumOff val="50000"/>
              <a:alpha val="39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04" name="Circle: Hollow 103">
            <a:extLst>
              <a:ext uri="{FF2B5EF4-FFF2-40B4-BE49-F238E27FC236}">
                <a16:creationId xmlns:a16="http://schemas.microsoft.com/office/drawing/2014/main" id="{4DC8CC92-3A2E-C1FB-EB24-2C05093D045E}"/>
              </a:ext>
            </a:extLst>
          </p:cNvPr>
          <p:cNvSpPr>
            <a:spLocks noChangeAspect="1"/>
          </p:cNvSpPr>
          <p:nvPr userDrawn="1"/>
        </p:nvSpPr>
        <p:spPr>
          <a:xfrm>
            <a:off x="4616754" y="2227557"/>
            <a:ext cx="1662996" cy="1646960"/>
          </a:xfrm>
          <a:prstGeom prst="donut">
            <a:avLst>
              <a:gd name="adj" fmla="val 5081"/>
            </a:avLst>
          </a:prstGeom>
          <a:solidFill>
            <a:schemeClr val="tx1">
              <a:lumMod val="50000"/>
              <a:lumOff val="50000"/>
              <a:alpha val="73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CBD5074C-A76C-6F03-B196-E2C75EDB60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9143" y="2360399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chemeClr val="tx1">
                    <a:lumMod val="65000"/>
                    <a:lumOff val="35000"/>
                  </a:schemeClr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C754CCFC-9D5C-1C55-01DC-A891C9A2A7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575" y="1264725"/>
            <a:ext cx="1969123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D8987506-DB15-E0E9-0429-A0FB3CF14E6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5304075" y="4849284"/>
            <a:ext cx="288592" cy="285810"/>
          </a:xfrm>
          <a:prstGeom prst="ellipse">
            <a:avLst/>
          </a:prstGeom>
          <a:solidFill>
            <a:schemeClr val="accent4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D8EA5BEB-4781-621A-1EAD-7D36DB0C76F9}"/>
              </a:ext>
            </a:extLst>
          </p:cNvPr>
          <p:cNvSpPr>
            <a:spLocks noChangeAspect="1"/>
          </p:cNvSpPr>
          <p:nvPr userDrawn="1"/>
        </p:nvSpPr>
        <p:spPr>
          <a:xfrm>
            <a:off x="4636220" y="4194997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146E9C7-E376-FBA6-8DAD-B157F45EF6C5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919539" y="4004343"/>
            <a:ext cx="92953" cy="920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280B6132-0C47-C91A-1217-D5120B5D1024}"/>
              </a:ext>
            </a:extLst>
          </p:cNvPr>
          <p:cNvSpPr>
            <a:spLocks noChangeAspect="1"/>
          </p:cNvSpPr>
          <p:nvPr userDrawn="1"/>
        </p:nvSpPr>
        <p:spPr>
          <a:xfrm>
            <a:off x="1744124" y="4351780"/>
            <a:ext cx="2141102" cy="21411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6C1665E-DFEE-A712-6257-1154184D200F}"/>
              </a:ext>
            </a:extLst>
          </p:cNvPr>
          <p:cNvSpPr>
            <a:spLocks noChangeAspect="1"/>
          </p:cNvSpPr>
          <p:nvPr userDrawn="1"/>
        </p:nvSpPr>
        <p:spPr>
          <a:xfrm>
            <a:off x="-129602" y="3693578"/>
            <a:ext cx="386136" cy="382412"/>
          </a:xfrm>
          <a:prstGeom prst="ellipse">
            <a:avLst/>
          </a:prstGeom>
          <a:solidFill>
            <a:srgbClr val="FFC000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E6C639A-97E3-A327-33C8-B732B100E4EC}"/>
              </a:ext>
            </a:extLst>
          </p:cNvPr>
          <p:cNvSpPr>
            <a:spLocks noChangeAspect="1"/>
          </p:cNvSpPr>
          <p:nvPr userDrawn="1"/>
        </p:nvSpPr>
        <p:spPr>
          <a:xfrm>
            <a:off x="1940667" y="4068732"/>
            <a:ext cx="175952" cy="174255"/>
          </a:xfrm>
          <a:prstGeom prst="ellipse">
            <a:avLst/>
          </a:prstGeom>
          <a:solidFill>
            <a:srgbClr val="7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8E75172-D60A-8651-9EB6-0E38BEA6EA15}"/>
              </a:ext>
            </a:extLst>
          </p:cNvPr>
          <p:cNvSpPr>
            <a:spLocks noChangeAspect="1"/>
          </p:cNvSpPr>
          <p:nvPr userDrawn="1"/>
        </p:nvSpPr>
        <p:spPr>
          <a:xfrm>
            <a:off x="881781" y="4055682"/>
            <a:ext cx="175952" cy="174255"/>
          </a:xfrm>
          <a:prstGeom prst="ellipse">
            <a:avLst/>
          </a:prstGeom>
          <a:solidFill>
            <a:srgbClr val="BF3B4B">
              <a:alpha val="5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EF7FC55-54F9-0BAF-1A9B-8E6427C2FC39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572748" y="3407770"/>
            <a:ext cx="133411" cy="132124"/>
          </a:xfrm>
          <a:prstGeom prst="ellipse">
            <a:avLst/>
          </a:prstGeom>
          <a:solidFill>
            <a:srgbClr val="BF3B4B">
              <a:alpha val="5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9B8C04C-1EDC-C0C8-AC0E-DFCE67B470E4}"/>
              </a:ext>
            </a:extLst>
          </p:cNvPr>
          <p:cNvSpPr>
            <a:spLocks noChangeAspect="1"/>
          </p:cNvSpPr>
          <p:nvPr userDrawn="1"/>
        </p:nvSpPr>
        <p:spPr>
          <a:xfrm>
            <a:off x="4423847" y="4413406"/>
            <a:ext cx="86693" cy="85857"/>
          </a:xfrm>
          <a:prstGeom prst="ellipse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5146CB3-3200-9963-3A59-24016CA596D0}"/>
              </a:ext>
            </a:extLst>
          </p:cNvPr>
          <p:cNvSpPr>
            <a:spLocks noChangeAspect="1"/>
          </p:cNvSpPr>
          <p:nvPr userDrawn="1"/>
        </p:nvSpPr>
        <p:spPr>
          <a:xfrm>
            <a:off x="153405" y="3500266"/>
            <a:ext cx="89560" cy="886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7B60E98-8925-291F-BF44-BB67DDD73D5C}"/>
              </a:ext>
            </a:extLst>
          </p:cNvPr>
          <p:cNvSpPr>
            <a:spLocks noChangeAspect="1"/>
          </p:cNvSpPr>
          <p:nvPr userDrawn="1"/>
        </p:nvSpPr>
        <p:spPr>
          <a:xfrm>
            <a:off x="997312" y="3575526"/>
            <a:ext cx="207999" cy="205994"/>
          </a:xfrm>
          <a:prstGeom prst="ellipse">
            <a:avLst/>
          </a:prstGeom>
          <a:solidFill>
            <a:srgbClr val="7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760F97D-C047-EF5F-F5B2-763A0DF31612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313165" y="4207318"/>
            <a:ext cx="92953" cy="920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0C64C45-5296-DCB7-A09F-7C281D7E3B37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751085" y="4397898"/>
            <a:ext cx="92953" cy="9205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FC8736D-F7A6-8561-8030-EBAB0EFCF7A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742694" y="4185726"/>
            <a:ext cx="92953" cy="92057"/>
          </a:xfrm>
          <a:prstGeom prst="ellipse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A0740C4-C6D7-DC3F-1C19-3CDBAD6CB926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1188684" y="4322480"/>
            <a:ext cx="288592" cy="285810"/>
          </a:xfrm>
          <a:prstGeom prst="ellipse">
            <a:avLst/>
          </a:prstGeom>
          <a:solidFill>
            <a:schemeClr val="accent4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9" name="Circle: Hollow 58">
            <a:extLst>
              <a:ext uri="{FF2B5EF4-FFF2-40B4-BE49-F238E27FC236}">
                <a16:creationId xmlns:a16="http://schemas.microsoft.com/office/drawing/2014/main" id="{F9FD74F0-9EFA-E798-BCAD-6D28B27478C8}"/>
              </a:ext>
            </a:extLst>
          </p:cNvPr>
          <p:cNvSpPr>
            <a:spLocks noChangeAspect="1"/>
          </p:cNvSpPr>
          <p:nvPr userDrawn="1"/>
        </p:nvSpPr>
        <p:spPr>
          <a:xfrm>
            <a:off x="2275709" y="3466904"/>
            <a:ext cx="1662996" cy="1646960"/>
          </a:xfrm>
          <a:prstGeom prst="donut">
            <a:avLst>
              <a:gd name="adj" fmla="val 5617"/>
            </a:avLst>
          </a:prstGeom>
          <a:solidFill>
            <a:srgbClr val="BF3B4B">
              <a:alpha val="8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72" name="Circle: Hollow 71">
            <a:extLst>
              <a:ext uri="{FF2B5EF4-FFF2-40B4-BE49-F238E27FC236}">
                <a16:creationId xmlns:a16="http://schemas.microsoft.com/office/drawing/2014/main" id="{9B592AAA-949B-B438-BED2-4E48BF7156B5}"/>
              </a:ext>
            </a:extLst>
          </p:cNvPr>
          <p:cNvSpPr>
            <a:spLocks noChangeAspect="1"/>
          </p:cNvSpPr>
          <p:nvPr userDrawn="1"/>
        </p:nvSpPr>
        <p:spPr>
          <a:xfrm>
            <a:off x="2467800" y="3648310"/>
            <a:ext cx="1291859" cy="1279402"/>
          </a:xfrm>
          <a:prstGeom prst="donut">
            <a:avLst>
              <a:gd name="adj" fmla="val 15338"/>
            </a:avLst>
          </a:prstGeom>
          <a:solidFill>
            <a:srgbClr val="BF3B4B">
              <a:alpha val="42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7B5B33E8-D658-C2F6-9DE4-77F6A87F3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0989" y="5039925"/>
            <a:ext cx="1900351" cy="65402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2000" b="1"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nter section title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552B7E4-AC1C-3A1D-96DD-C038689398B5}"/>
              </a:ext>
            </a:extLst>
          </p:cNvPr>
          <p:cNvSpPr>
            <a:spLocks noChangeAspect="1"/>
          </p:cNvSpPr>
          <p:nvPr userDrawn="1"/>
        </p:nvSpPr>
        <p:spPr>
          <a:xfrm>
            <a:off x="4018910" y="4136699"/>
            <a:ext cx="175952" cy="174255"/>
          </a:xfrm>
          <a:prstGeom prst="ellipse">
            <a:avLst/>
          </a:prstGeom>
          <a:solidFill>
            <a:srgbClr val="A3C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7DDB8C6-24A0-B194-E608-665C56E30D78}"/>
              </a:ext>
            </a:extLst>
          </p:cNvPr>
          <p:cNvSpPr>
            <a:spLocks noChangeAspect="1"/>
          </p:cNvSpPr>
          <p:nvPr userDrawn="1"/>
        </p:nvSpPr>
        <p:spPr>
          <a:xfrm>
            <a:off x="326434" y="3496174"/>
            <a:ext cx="88290" cy="87439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ECCFBE66-FE01-1889-1AE6-CD071C5198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02201" y="3619981"/>
            <a:ext cx="1435056" cy="132805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4400" b="1">
                <a:solidFill>
                  <a:srgbClr val="C00000"/>
                </a:solidFill>
                <a:latin typeface="Ink Free" panose="03080402000500000000" pitchFamily="66" charset="0"/>
              </a:defRPr>
            </a:lvl1pPr>
            <a:lvl2pPr marL="457200" indent="0">
              <a:buNone/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Add #</a:t>
            </a:r>
          </a:p>
        </p:txBody>
      </p:sp>
    </p:spTree>
    <p:extLst>
      <p:ext uri="{BB962C8B-B14F-4D97-AF65-F5344CB8AC3E}">
        <p14:creationId xmlns:p14="http://schemas.microsoft.com/office/powerpoint/2010/main" val="395526963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C902C83D-4C13-410D-8053-A68EDCD3CE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8" y="-1"/>
            <a:ext cx="7961613" cy="6862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94D17BD-CE3E-F599-FE4E-F9062DB804C8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91CDC0A-D323-35A6-A931-31B06C0AAAE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0C27FA7-D122-ED47-63E9-900968F5D9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6815EB1-3265-09FD-9D97-17B31FCBFFF4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FFA674C-AF36-6C2E-2A77-3B2DFAEF28EF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432578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4C09028A-120A-4A2D-A0F6-8C6E56A3B3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6787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B13AD673-57C3-4D5B-8979-8AD868B5A0F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0144" b="82297" l="107" r="62073">
                        <a14:foregroundMark x1="107" y1="47608" x2="1709" y2="56459"/>
                        <a14:foregroundMark x1="12738" y1="64682" x2="43590" y2="75957"/>
                        <a14:foregroundMark x1="2350" y1="60885" x2="4250" y2="61579"/>
                        <a14:foregroundMark x1="43590" y1="75957" x2="56517" y2="78230"/>
                        <a14:foregroundMark x1="5401" y1="64408" x2="13248" y2="82297"/>
                        <a14:foregroundMark x1="37607" y1="30263" x2="39957" y2="35526"/>
                        <a14:foregroundMark x1="58761" y1="38517" x2="58226" y2="41986"/>
                        <a14:foregroundMark x1="58994" y1="48565" x2="58974" y2="49880"/>
                        <a14:foregroundMark x1="59025" y1="46522" x2="59019" y2="46890"/>
                        <a14:foregroundMark x1="59081" y1="42823" x2="59062" y2="44106"/>
                        <a14:foregroundMark x1="60897" y1="52273" x2="60897" y2="58732"/>
                        <a14:foregroundMark x1="62073" y1="66148" x2="55769" y2="75239"/>
                        <a14:foregroundMark x1="55769" y1="75239" x2="55342" y2="75598"/>
                        <a14:foregroundMark x1="19017" y1="60287" x2="26068" y2="60526"/>
                        <a14:foregroundMark x1="26068" y1="60526" x2="35043" y2="60167"/>
                        <a14:foregroundMark x1="35043" y1="60167" x2="35470" y2="60048"/>
                        <a14:backgroundMark x1="3526" y1="48565" x2="6197" y2="57536"/>
                        <a14:backgroundMark x1="50962" y1="54067" x2="50855" y2="64952"/>
                        <a14:backgroundMark x1="50855" y1="64952" x2="50855" y2="64952"/>
                        <a14:backgroundMark x1="58761" y1="44019" x2="58226" y2="46292"/>
                        <a14:backgroundMark x1="58761" y1="46651" x2="58761" y2="46651"/>
                        <a14:backgroundMark x1="58761" y1="46890" x2="58761" y2="48565"/>
                        <a14:backgroundMark x1="534" y1="62919" x2="2350" y2="64833"/>
                        <a14:backgroundMark x1="4487" y1="63278" x2="5662" y2="64115"/>
                        <a14:backgroundMark x1="4060" y1="62560" x2="5342" y2="62679"/>
                        <a14:backgroundMark x1="5449" y1="64593" x2="5449" y2="64593"/>
                        <a14:backgroundMark x1="5983" y1="62201" x2="5449" y2="64474"/>
                        <a14:backgroundMark x1="6624" y1="62560" x2="11432" y2="63995"/>
                        <a14:backgroundMark x1="12714" y1="62201" x2="13782" y2="63995"/>
                        <a14:backgroundMark x1="14850" y1="63038" x2="20513" y2="63158"/>
                        <a14:backgroundMark x1="17968" y1="62097" x2="19444" y2="62201"/>
                        <a14:backgroundMark x1="21304" y1="62105" x2="21154" y2="62440"/>
                        <a14:backgroundMark x1="22543" y1="62081" x2="23397" y2="62799"/>
                        <a14:backgroundMark x1="26380" y1="62202" x2="26923" y2="63158"/>
                        <a14:backgroundMark x1="25852" y1="62259" x2="27671" y2="63278"/>
                        <a14:backgroundMark x1="29292" y1="62086" x2="30449" y2="62919"/>
                        <a14:backgroundMark x1="33883" y1="62253" x2="35363" y2="63038"/>
                        <a14:backgroundMark x1="34081" y1="63278" x2="35256" y2="63278"/>
                        <a14:backgroundMark x1="31554" y1="61996" x2="32372" y2="63278"/>
                        <a14:backgroundMark x1="31410" y1="62560" x2="31303" y2="63278"/>
                        <a14:backgroundMark x1="29382" y1="58705" x2="27671" y2="58254"/>
                        <a14:backgroundMark x1="38034" y1="57656" x2="36218" y2="58134"/>
                        <a14:backgroundMark x1="33120" y1="57416" x2="33120" y2="57416"/>
                        <a14:backgroundMark x1="47543" y1="65789" x2="48825" y2="68301"/>
                        <a14:backgroundMark x1="60791" y1="66148" x2="60791" y2="66148"/>
                        <a14:backgroundMark x1="40705" y1="65909" x2="41667" y2="674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007" r="33283" b="16293"/>
          <a:stretch/>
        </p:blipFill>
        <p:spPr bwMode="auto">
          <a:xfrm>
            <a:off x="1" y="1989252"/>
            <a:ext cx="5123072" cy="375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A12C49F-4320-6AD6-6278-FE942E23C0F6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A78D655-3E0D-7D4C-EE48-4EAA65F14F73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7F53E3F-56F7-1C26-2E5F-9C1590EB57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FEE4F51-8884-828F-7520-2BF7F0F2B2EA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3390A07-8437-4427-69C8-5067B2081A4F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019357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OTH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>
            <a:extLst>
              <a:ext uri="{FF2B5EF4-FFF2-40B4-BE49-F238E27FC236}">
                <a16:creationId xmlns:a16="http://schemas.microsoft.com/office/drawing/2014/main" id="{AC757853-035A-45B5-8E0E-9B9016F39C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27" y="0"/>
            <a:ext cx="6977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17A2D106-0FD4-4D4C-9B41-4C91A2F166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9826" b="99187" l="685" r="58904">
                        <a14:foregroundMark x1="15868" y1="49826" x2="16438" y2="51684"/>
                        <a14:foregroundMark x1="4680" y1="79559" x2="1027" y2="94774"/>
                        <a14:foregroundMark x1="8562" y1="96516" x2="31279" y2="99419"/>
                        <a14:foregroundMark x1="31279" y1="99419" x2="39612" y2="98490"/>
                        <a14:foregroundMark x1="45662" y1="98490" x2="47831" y2="98839"/>
                        <a14:foregroundMark x1="15639" y1="52846" x2="15639" y2="52846"/>
                        <a14:foregroundMark x1="18151" y1="50871" x2="18151" y2="50871"/>
                        <a14:foregroundMark x1="18151" y1="50871" x2="16553" y2="51916"/>
                        <a14:foregroundMark x1="55708" y1="54239" x2="55936" y2="61324"/>
                        <a14:foregroundMark x1="55936" y1="61324" x2="55936" y2="61324"/>
                        <a14:foregroundMark x1="57306" y1="57027" x2="58904" y2="61208"/>
                        <a14:backgroundMark x1="9247" y1="51336" x2="8904" y2="67131"/>
                        <a14:backgroundMark x1="26826" y1="53891" x2="42352" y2="66434"/>
                        <a14:backgroundMark x1="28653" y1="71429" x2="36644" y2="73055"/>
                        <a14:backgroundMark x1="28082" y1="71196" x2="28082" y2="711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125" r="49980" b="-1"/>
          <a:stretch/>
        </p:blipFill>
        <p:spPr bwMode="auto">
          <a:xfrm>
            <a:off x="-11668" y="3295973"/>
            <a:ext cx="3489895" cy="355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296E8-2A9A-497C-9212-415FAB457D80}"/>
              </a:ext>
            </a:extLst>
          </p:cNvPr>
          <p:cNvSpPr txBox="1"/>
          <p:nvPr userDrawn="1"/>
        </p:nvSpPr>
        <p:spPr>
          <a:xfrm>
            <a:off x="5398488" y="5518513"/>
            <a:ext cx="6543563" cy="1098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600" b="1" kern="1200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ANK YOU FOR YOUR TIME AND ATTENTION</a:t>
            </a:r>
            <a:endParaRPr lang="nl-NL" sz="3600" b="1" kern="1200">
              <a:solidFill>
                <a:schemeClr val="accent4">
                  <a:lumMod val="7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47A10B-ABB4-4293-AF81-5FA27A13750C}"/>
              </a:ext>
            </a:extLst>
          </p:cNvPr>
          <p:cNvGrpSpPr/>
          <p:nvPr userDrawn="1"/>
        </p:nvGrpSpPr>
        <p:grpSpPr>
          <a:xfrm>
            <a:off x="6105230" y="240788"/>
            <a:ext cx="5836821" cy="5088756"/>
            <a:chOff x="5836362" y="68074"/>
            <a:chExt cx="6083274" cy="53552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05DD0D6-7F14-42FD-8FCF-DCAF698F95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303DFABB-72C8-4A78-B61B-B366D90069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4DACEF09-CA53-44A3-AF54-C491D8CACD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18AF5E-9E5F-43AD-B2CA-D67831D9D2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97461BE-E58B-418F-A289-5305CCD125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55B1B3A-F11E-4A8E-AAD4-0151734DA14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ED40FE83-C88A-45C8-AA4B-8774C8A8D0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20B5CD-DA1E-4F74-8E93-F3186D1EBC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085EFD18-8B40-4DCE-B1C1-5654138683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FDBD5A4B-9D27-4A8B-BA2B-4AB7E70205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0EBEDD-2CCC-47CF-9618-2C297A8FCA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23A43C1-2547-484D-9184-7DA273CB4A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A5B555-5544-49E4-BFF1-248AB63FB1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E2DD6E-BBFC-4E12-8366-9335AD84CD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11CD12F6-DF74-4F1D-9E0C-A77F678F52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7D8170C-61FC-48E8-99BA-7A902E6BACE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CC52045-A7E0-4C0A-8A1A-3DF8B88CAD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A8A222F-9D17-479A-BD06-328A633876A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42C168A-F0EE-49DB-AE50-828A30BC6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EE08BC-3AF0-4943-ABC2-CAE31B79E2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AF8C2AC-608E-4D81-A3A1-3E65E8D16C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84A48CD-AEBF-407B-A5E1-FC7C96F155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0B6C881-1EB6-4F8F-A315-8386169CC2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2DB23B6-AFB5-44BA-8F17-336FD1CA5F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2A22BA6-7910-4F89-A7C1-B146A20F76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9B08304-86D0-4B9B-870C-9A3F5B1196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D88B957-DE5A-4DF6-BBE6-41BDCB2CBC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60ED0B4-A7B9-43BE-822B-D6463F9C36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F675923-BC43-4A29-8223-BDB4F9D1163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6BDB9BF-3FF8-44F0-A324-3C4DFC11CB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635F3B4-B5EC-461A-BF0F-B2AEE72746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B153B6F-8D3F-482E-A31A-E702C802BC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8DCA97-9D4D-4AFE-AD67-17209EF31C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BAAE920-8047-444A-BFFE-3C9F4AC5A6A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D0FD69B-4296-457D-94AD-031425071A1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E29CF58-A3D8-4320-9FEE-E02293A86BD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1FE1105-D891-4C4D-AEB2-17FD1945837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A070B7D-EB34-4FBD-AD2E-F038DFFECA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6D28375-8CA6-44A7-A615-BF52BB575D5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C83B5EC-8C0B-45F1-B303-E5CE820060FD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Circle: Hollow 48">
              <a:extLst>
                <a:ext uri="{FF2B5EF4-FFF2-40B4-BE49-F238E27FC236}">
                  <a16:creationId xmlns:a16="http://schemas.microsoft.com/office/drawing/2014/main" id="{B7595F5B-A1DE-4FA7-BF0F-4C1619E5D2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0" name="Circle: Hollow 49">
              <a:extLst>
                <a:ext uri="{FF2B5EF4-FFF2-40B4-BE49-F238E27FC236}">
                  <a16:creationId xmlns:a16="http://schemas.microsoft.com/office/drawing/2014/main" id="{52213853-0FD4-42C0-BFF8-EFAB87E11A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670008D-E28F-D401-95D0-40385546005C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A9AADCE-C686-BA68-0A1F-0E33AD9A4C8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BA797F9-955C-147B-AD72-D0DF6A9398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1F90A9D-A556-85CA-58EA-C3A5B596F142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1CAFDEA-00C1-CB81-77E1-892012F53BD5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91854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1">
            <a:extLst>
              <a:ext uri="{FF2B5EF4-FFF2-40B4-BE49-F238E27FC236}">
                <a16:creationId xmlns:a16="http://schemas.microsoft.com/office/drawing/2014/main" id="{1B34DE5A-A590-4BC7-967E-C466D1AB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12"/>
          <a:stretch/>
        </p:blipFill>
        <p:spPr>
          <a:xfrm>
            <a:off x="-2077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8372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AA316804-1769-4051-BE67-10D3164B8E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1528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185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6" name="Picture Placeholder 16">
            <a:extLst>
              <a:ext uri="{FF2B5EF4-FFF2-40B4-BE49-F238E27FC236}">
                <a16:creationId xmlns:a16="http://schemas.microsoft.com/office/drawing/2014/main" id="{9B943C83-6792-468C-8670-C042E6FB9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58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80687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43FDDFA6-320F-420A-AC82-CAC91807A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>
            <a:off x="-271254" y="-294381"/>
            <a:ext cx="4732119" cy="473211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13096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3" descr="A picture containing person&#10;&#10;Description automatically generated">
            <a:extLst>
              <a:ext uri="{FF2B5EF4-FFF2-40B4-BE49-F238E27FC236}">
                <a16:creationId xmlns:a16="http://schemas.microsoft.com/office/drawing/2014/main" id="{7F16EA21-8B87-469D-A3E8-3FEA074A8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1"/>
          <a:stretch/>
        </p:blipFill>
        <p:spPr>
          <a:xfrm>
            <a:off x="-251886" y="-279239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65523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10F21B1-7101-45F6-AA38-752ED285B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5379" y="-2848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8345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F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4">
            <a:extLst>
              <a:ext uri="{FF2B5EF4-FFF2-40B4-BE49-F238E27FC236}">
                <a16:creationId xmlns:a16="http://schemas.microsoft.com/office/drawing/2014/main" id="{96BE2E8B-4F21-448D-9169-41CC70C477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868" y="0"/>
            <a:ext cx="81376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>
            <a:extLst>
              <a:ext uri="{FF2B5EF4-FFF2-40B4-BE49-F238E27FC236}">
                <a16:creationId xmlns:a16="http://schemas.microsoft.com/office/drawing/2014/main" id="{E163D1F5-C5BA-4FF9-8B26-A03AA203D2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90" b="99792" l="32727" r="70579">
                        <a14:foregroundMark x1="55455" y1="50780" x2="50661" y2="51821"/>
                        <a14:foregroundMark x1="67360" y1="47043" x2="67646" y2="54115"/>
                        <a14:foregroundMark x1="66281" y1="20291" x2="67356" y2="46928"/>
                        <a14:foregroundMark x1="68043" y1="65556" x2="66116" y2="72633"/>
                        <a14:foregroundMark x1="66116" y1="72633" x2="63554" y2="71072"/>
                        <a14:foregroundMark x1="59091" y1="59729" x2="50909" y2="99792"/>
                        <a14:foregroundMark x1="64463" y1="19459" x2="60496" y2="29553"/>
                        <a14:foregroundMark x1="66446" y1="20499" x2="70165" y2="26015"/>
                        <a14:foregroundMark x1="70165" y1="26015" x2="70430" y2="29683"/>
                        <a14:foregroundMark x1="64215" y1="19979" x2="52810" y2="23413"/>
                        <a14:foregroundMark x1="60331" y1="18835" x2="50992" y2="24246"/>
                        <a14:foregroundMark x1="59008" y1="19043" x2="52397" y2="23205"/>
                        <a14:foregroundMark x1="52397" y1="23205" x2="51736" y2="24142"/>
                        <a14:foregroundMark x1="43554" y1="68574" x2="36033" y2="94381"/>
                        <a14:foregroundMark x1="36033" y1="94381" x2="32727" y2="98855"/>
                        <a14:foregroundMark x1="38017" y1="69823" x2="33802" y2="92612"/>
                        <a14:foregroundMark x1="46694" y1="70968" x2="43140" y2="77419"/>
                        <a14:foregroundMark x1="64711" y1="51405" x2="65289" y2="59105"/>
                        <a14:foregroundMark x1="65537" y1="67430" x2="58264" y2="99584"/>
                        <a14:foregroundMark x1="70579" y1="26223" x2="67603" y2="21956"/>
                        <a14:foregroundMark x1="70248" y1="25702" x2="67603" y2="21748"/>
                        <a14:foregroundMark x1="51322" y1="24454" x2="47686" y2="30385"/>
                        <a14:foregroundMark x1="47686" y1="30385" x2="47686" y2="30385"/>
                        <a14:foregroundMark x1="50992" y1="24454" x2="47934" y2="29969"/>
                        <a14:backgroundMark x1="71240" y1="29865" x2="68760" y2="47242"/>
                        <a14:backgroundMark x1="68760" y1="47242" x2="69256" y2="54943"/>
                        <a14:backgroundMark x1="69256" y1="54943" x2="68760" y2="57024"/>
                        <a14:backgroundMark x1="67851" y1="54110" x2="68017" y2="655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77" r="28609"/>
          <a:stretch/>
        </p:blipFill>
        <p:spPr bwMode="auto">
          <a:xfrm flipH="1">
            <a:off x="1850719" y="-10556"/>
            <a:ext cx="3693747" cy="689395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04323F2-1941-4F49-92D8-0EDDF6EDBD9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37035D-5F63-4BD9-9B64-04B7DB5F7F3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E3DE8605-1CD3-4052-B0DA-BEFA96AA159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FED25739-38B4-4110-9C53-DA5DCDE3B9F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1F20A66-6C99-4916-8816-F167107725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74C7EDC0-EBCE-4E3A-9D16-C443CA7804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977C1F6-60A7-4B1B-9B31-DDE34B0B2F0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B510FB1A-C3B2-4CF5-8B2C-BBFB32FCFA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766107F-7B2A-4F22-A601-9C16F5B246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EA64F1F5-B827-4EA5-8933-E799B8E47C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126DA8CC-2FAC-4DF8-971C-2E34B29CB1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323C646-80F1-4602-AF8A-86A0673FCE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443EF24-E818-47BF-B8CF-6146C4DE698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496846-3226-4DAD-A0D5-7D8EF98CA34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9C359CD-B1AF-454E-9332-15F4BC62967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7" name="Circle: Hollow 26">
              <a:extLst>
                <a:ext uri="{FF2B5EF4-FFF2-40B4-BE49-F238E27FC236}">
                  <a16:creationId xmlns:a16="http://schemas.microsoft.com/office/drawing/2014/main" id="{880AD3B9-F91A-486B-86B6-CAD8EAA4304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8A7D310-3144-4D73-89B9-504A0D7A25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AE2BFF1-642E-4793-93E5-D89D6AED52E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BD37EEF-F4C0-4062-9F31-DDF51B0450F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C866BA0-A3D8-4195-919B-8111B82EA0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E8B01D4-3BE6-404D-865E-34AC3CBED0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92553F8-8827-418A-8D3A-834DCD9F22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BE81F47-731F-428A-8ACC-50DA1EDD0FC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0E52D23-97A4-4275-8E22-44A3E492E0F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425FB51-11B9-4DD8-958D-FBFB22BFC0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7E26436-FC86-482A-A140-A3786CAC5A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E28B611-2B90-4E9E-A804-9B799DAE96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BD5ED52-6BF2-4195-A6B2-DE80F38E092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C2FEF86-6B99-44C8-BE8D-CE15F48C8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0382D9A-89BF-4090-86B5-346755BC8F4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31359F2-D4BA-4B7F-8F88-47D020CC3E1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6FB5339-6178-417C-BAFD-AB5606A35A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4A6D78A-A307-44EE-B5BD-F305D59F32D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12192DCC-0F5E-4193-A87B-74A0D413E4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BB951C-002A-4272-A19E-7C8E6330513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3547E64B-4174-4EE0-9189-D6362E41C78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C08A981-C9F9-435A-903D-E7619E0950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2AD646A-2E19-4579-9412-3377DD2A4A6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FDA3CB9-8E7E-4580-AE92-5A5EA2DD1D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2ECC116-6CBE-46B5-997C-AFD811BFE2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80833912-207A-4794-82C3-302AD41A3C2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Circle: Hollow 52">
              <a:extLst>
                <a:ext uri="{FF2B5EF4-FFF2-40B4-BE49-F238E27FC236}">
                  <a16:creationId xmlns:a16="http://schemas.microsoft.com/office/drawing/2014/main" id="{35A6ABC5-1F91-4587-9A4D-12549EBDC0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5BCD3E4E-188B-4795-BFEF-2E97AE3CF8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E89CAA0-8012-AC76-A0F6-E15BC7639DF7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32C96D8-0A7D-989F-4052-56D69AE29CFE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32372B5-2A64-839D-C81E-2B00AC3F70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B173E78-133D-A27D-035C-FDE07D808FDB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E4D211A-3618-CCE2-E0CD-DB6B252267F1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05252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3" descr="A person sitting on the ground&#10;&#10;Description automatically generated with medium confidence">
            <a:extLst>
              <a:ext uri="{FF2B5EF4-FFF2-40B4-BE49-F238E27FC236}">
                <a16:creationId xmlns:a16="http://schemas.microsoft.com/office/drawing/2014/main" id="{673F2E3E-A5AB-4A07-87D1-393D6A6DFF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1878" y="-2848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55165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18" descr="A couple of women sitting on a bench&#10;&#10;Description automatically generated with low confidence">
            <a:extLst>
              <a:ext uri="{FF2B5EF4-FFF2-40B4-BE49-F238E27FC236}">
                <a16:creationId xmlns:a16="http://schemas.microsoft.com/office/drawing/2014/main" id="{491A181A-B572-41EC-BE10-4C83F9B82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70560" y="-311270"/>
            <a:ext cx="4754940" cy="4765898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97191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42" descr="A person stands next to a horse&#10;&#10;Description automatically generated with medium confidence">
            <a:extLst>
              <a:ext uri="{FF2B5EF4-FFF2-40B4-BE49-F238E27FC236}">
                <a16:creationId xmlns:a16="http://schemas.microsoft.com/office/drawing/2014/main" id="{FC6D0D84-00D1-4A8B-9C12-4DD55673B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1610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7">
            <a:extLst>
              <a:ext uri="{FF2B5EF4-FFF2-40B4-BE49-F238E27FC236}">
                <a16:creationId xmlns:a16="http://schemas.microsoft.com/office/drawing/2014/main" id="{5A6E0A02-9478-4350-A40E-F036FFA0C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1878" y="-29039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1074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7" name="Picture Placeholder 37" descr="A person wearing a garment&#10;&#10;Description automatically generated with low confidence">
            <a:extLst>
              <a:ext uri="{FF2B5EF4-FFF2-40B4-BE49-F238E27FC236}">
                <a16:creationId xmlns:a16="http://schemas.microsoft.com/office/drawing/2014/main" id="{6B3B84B2-BAE5-4993-9656-323A4F0FD2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242" y="-2816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92210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32" descr="A picture containing person, trouser&#10;&#10;Description automatically generated">
            <a:extLst>
              <a:ext uri="{FF2B5EF4-FFF2-40B4-BE49-F238E27FC236}">
                <a16:creationId xmlns:a16="http://schemas.microsoft.com/office/drawing/2014/main" id="{AAE251DD-C72A-4799-894C-96C6CF0B18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>
            <a:off x="-233154" y="-282556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96743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95">
            <a:extLst>
              <a:ext uri="{FF2B5EF4-FFF2-40B4-BE49-F238E27FC236}">
                <a16:creationId xmlns:a16="http://schemas.microsoft.com/office/drawing/2014/main" id="{1C2CC4FD-AA5C-43E0-8F84-437471607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495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8116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09">
            <a:extLst>
              <a:ext uri="{FF2B5EF4-FFF2-40B4-BE49-F238E27FC236}">
                <a16:creationId xmlns:a16="http://schemas.microsoft.com/office/drawing/2014/main" id="{5E0BD08A-6854-4CC0-B24F-F237076F3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049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90">
            <a:extLst>
              <a:ext uri="{FF2B5EF4-FFF2-40B4-BE49-F238E27FC236}">
                <a16:creationId xmlns:a16="http://schemas.microsoft.com/office/drawing/2014/main" id="{B8DDE6F2-9F9B-41F2-B2A3-6DC9E6FA12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85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8127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204">
            <a:extLst>
              <a:ext uri="{FF2B5EF4-FFF2-40B4-BE49-F238E27FC236}">
                <a16:creationId xmlns:a16="http://schemas.microsoft.com/office/drawing/2014/main" id="{78B21EA6-36D0-435A-9C96-0841F750F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1528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6902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9C00F28-B628-41DD-8234-BA7516F71C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658"/>
          <a:stretch/>
        </p:blipFill>
        <p:spPr bwMode="auto">
          <a:xfrm>
            <a:off x="0" y="0"/>
            <a:ext cx="698131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2F3D023-E23A-4E03-84C8-69F0966B73B0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B8030D7-615E-4293-82C1-DE20FE117CE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BCCD9D61-099D-45E0-99F3-8F5C167D7F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659F2B10-1E06-40C6-9E26-2720F4D5D99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BBF4286-8421-44F4-AEC4-5077219CFB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EFED5782-2621-4512-8A45-DE47726246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F583398-3426-42D1-815C-310F9ABFE4B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80BE6341-C3C8-4F53-963D-F29934F22E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19D7686-861A-4A07-84AC-8988F088414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08D9A70A-59D0-46D3-9D08-3634FD7F170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84BDDEE6-33B5-4006-8C17-BDB035DD01A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358D785-F1B4-4DD5-94EB-3235FA7F687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08EE7F6-076F-4D93-AD7D-A61B733B7E0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EFA4C30-62D4-477A-A6DB-02750BA0A1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A33E31B-D6EC-4253-8C29-24EE33940D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6" name="Circle: Hollow 25">
              <a:extLst>
                <a:ext uri="{FF2B5EF4-FFF2-40B4-BE49-F238E27FC236}">
                  <a16:creationId xmlns:a16="http://schemas.microsoft.com/office/drawing/2014/main" id="{D738AF29-7576-4D48-8709-6DA0929506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33DC169-90EC-4BF0-B7DD-90E78BF8F2B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148F100-A352-4849-B456-2937885CCB9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540FF2B-C7CD-4698-9697-56EE132D71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62772A6-E0A1-4381-BAA9-90C0927A94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156ED00-4FAC-431E-AC3B-E27166E85A3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347B9F0-2CDB-42E7-9878-B83E2E90BF2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E949F0D-B1E8-4F39-AF33-CE1331BCAAB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C686CBE-7764-4AC6-B24B-45A23BFD3EE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1C87805-910C-413A-95AE-5BFF286781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44C93A3-C08C-484B-A04F-47F7D5DF5A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0F4B9F9-B2D4-44BA-B93F-BDB266263FF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441CCC0-63A0-4E6C-A75C-E7C19ACD7D8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FDE5369-3494-44C3-AD82-73F7F55558A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675B0AF-342F-4567-AF36-EE408405D01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70EB615-D6DD-4F90-BB25-13D4183CB92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0635603-06E9-47E7-A4B4-9338D68F6B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2FDEA22-6AB8-4599-8BF8-939E903AD06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F884DE7-D691-4DC8-840F-9AC707FABE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9B360CA-B082-4DB8-B91D-7F27636A941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5C21C763-24B4-43A8-8E34-E475A34FE82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9FC415E4-06EB-4B1F-98A5-3EAC7E70123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C7325B8-C8BD-4107-A7B6-DB468D0781E1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2CFF533-113C-454B-BA3B-D668F5DB6C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29653B6-1785-4649-8F48-97DE2B192C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C889914-18C6-4DE7-8EC2-F62CB29F2059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AFAB4A5F-1A4C-4048-9DC6-697664180D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3" name="Circle: Hollow 52">
              <a:extLst>
                <a:ext uri="{FF2B5EF4-FFF2-40B4-BE49-F238E27FC236}">
                  <a16:creationId xmlns:a16="http://schemas.microsoft.com/office/drawing/2014/main" id="{70CA7F9B-063D-46CC-86B7-A13247F54C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D29AE6E-84E4-FD02-21B5-5244F0F2B9B9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74910FD-C4C4-AEF4-DB04-C02803502742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E59D159-C5DC-3D93-7B24-EF510CDF05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0536E6-7CA2-940F-7D6D-57103D59DE03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EA21B8-4DB2-9AE3-F3D3-B31346167934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7249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54905" y="-480941"/>
            <a:ext cx="5102140" cy="50529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BF3B4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C00000"/>
              </a:gs>
              <a:gs pos="94000">
                <a:srgbClr val="BF3B4B">
                  <a:alpha val="44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chapter tit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2" name="Picture Placeholder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50915DD-5EE5-49E3-8AC8-C442BCE6948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48828" y="-299292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77917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E3762589-BB20-41D7-9EA0-22192AF99EB4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FFC000"/>
              </a:gs>
              <a:gs pos="94000">
                <a:srgbClr val="FFC000">
                  <a:alpha val="41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7">
            <a:extLst>
              <a:ext uri="{FF2B5EF4-FFF2-40B4-BE49-F238E27FC236}">
                <a16:creationId xmlns:a16="http://schemas.microsoft.com/office/drawing/2014/main" id="{4CDEE063-EA26-468A-AFDA-44D797D69B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56214" y="-28803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80221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8CDF34EE-5BBA-4686-B63F-BD22165A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F8480B8-80C3-43B8-A629-C680F60D2ED5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/>
              </a:gs>
              <a:gs pos="94000">
                <a:srgbClr val="00AEEF">
                  <a:alpha val="4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F2A400B-9495-41FA-97C0-2EA592BD3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pic>
        <p:nvPicPr>
          <p:cNvPr id="15" name="Picture Placeholder 13">
            <a:extLst>
              <a:ext uri="{FF2B5EF4-FFF2-40B4-BE49-F238E27FC236}">
                <a16:creationId xmlns:a16="http://schemas.microsoft.com/office/drawing/2014/main" id="{77E1F9EE-A329-483E-8900-3AECA7CA9E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45854" y="-294381"/>
            <a:ext cx="4732119" cy="473211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90408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 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8FBA3F-6694-4D1B-97E5-41CC2883DF42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3AD07B-FDC4-429D-9D4D-FE35D68BA601}"/>
              </a:ext>
            </a:extLst>
          </p:cNvPr>
          <p:cNvSpPr/>
          <p:nvPr userDrawn="1"/>
        </p:nvSpPr>
        <p:spPr>
          <a:xfrm>
            <a:off x="0" y="0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6FD64248-CA7C-43DF-8841-6CBDF67BBA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398001" y="514554"/>
            <a:ext cx="7010155" cy="6149018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937CCF2B-AE90-4BCD-9D59-A4373A3ACC6D}"/>
              </a:ext>
            </a:extLst>
          </p:cNvPr>
          <p:cNvSpPr>
            <a:spLocks noChangeAspect="1"/>
          </p:cNvSpPr>
          <p:nvPr userDrawn="1"/>
        </p:nvSpPr>
        <p:spPr>
          <a:xfrm>
            <a:off x="-482527" y="-519041"/>
            <a:ext cx="5193418" cy="514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B6C7FE4E-CB15-4251-8029-7682CA01BBBB}"/>
              </a:ext>
            </a:extLst>
          </p:cNvPr>
          <p:cNvSpPr>
            <a:spLocks noChangeAspect="1"/>
          </p:cNvSpPr>
          <p:nvPr userDrawn="1"/>
        </p:nvSpPr>
        <p:spPr>
          <a:xfrm>
            <a:off x="-654135" y="-660388"/>
            <a:ext cx="5517335" cy="5464134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" name="Circle: Hollow 64">
            <a:extLst>
              <a:ext uri="{FF2B5EF4-FFF2-40B4-BE49-F238E27FC236}">
                <a16:creationId xmlns:a16="http://schemas.microsoft.com/office/drawing/2014/main" id="{B80E0F85-EC39-4957-B266-1E1B79F72FA2}"/>
              </a:ext>
            </a:extLst>
          </p:cNvPr>
          <p:cNvSpPr>
            <a:spLocks noChangeAspect="1"/>
          </p:cNvSpPr>
          <p:nvPr userDrawn="1"/>
        </p:nvSpPr>
        <p:spPr>
          <a:xfrm>
            <a:off x="-511411" y="-519041"/>
            <a:ext cx="5231889" cy="5181440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69000"/>
                </a:schemeClr>
              </a:gs>
              <a:gs pos="63000">
                <a:schemeClr val="bg1">
                  <a:lumMod val="65000"/>
                  <a:alpha val="47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14" descr="Shape, circle&#10;&#10;Description automatically generated">
            <a:extLst>
              <a:ext uri="{FF2B5EF4-FFF2-40B4-BE49-F238E27FC236}">
                <a16:creationId xmlns:a16="http://schemas.microsoft.com/office/drawing/2014/main" id="{FE98D32E-5A0E-479F-82DC-AD357EC126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9121113" y="-203466"/>
            <a:ext cx="2867426" cy="3274353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553C083-E55A-4094-8B49-FECA80473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344832"/>
            <a:ext cx="5947586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5400" b="1">
                <a:solidFill>
                  <a:schemeClr val="accent4">
                    <a:lumMod val="7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E30343A-8BB0-43F9-922D-7031CC16589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71254" y="-294381"/>
            <a:ext cx="4732119" cy="473211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576235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F0F26E2-6984-497F-8C8D-A3D6BEA48D1F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rgbClr val="00AEEF">
                  <a:alpha val="17000"/>
                </a:srgbClr>
              </a:gs>
              <a:gs pos="65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5A7EBCD1-E692-4D90-ACF4-D8EE45581A6E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70B96ED-B0F5-471C-B4A4-CA83B23B03F9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71F4BA5-F1C8-464D-A35E-C600990EED94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15F4E2-B545-FD97-393A-4926FD53FC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391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4B32B3B-A5F6-4E29-BB11-FAD5271B3BCA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75000"/>
                  <a:alpha val="96000"/>
                </a:schemeClr>
              </a:gs>
              <a:gs pos="65000">
                <a:srgbClr val="FFC000">
                  <a:alpha val="62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841022AF-BF8D-4CD1-B085-8A7B4547899A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chemeClr val="accent4">
                  <a:lumMod val="75000"/>
                  <a:alpha val="96000"/>
                </a:schemeClr>
              </a:gs>
              <a:gs pos="65000">
                <a:srgbClr val="FFC000">
                  <a:alpha val="62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614CB323-962F-4480-9FA2-E59FDE853C95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3271725-8EAA-4D8B-8B10-F2593AB294D3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BB481BD-BB54-9B3A-73A4-00A7BA0193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1873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FF037FB-6F29-464F-B02A-E8152D10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FCBA749-C4B2-47AC-9C03-3197F3AFCEA7}"/>
              </a:ext>
            </a:extLst>
          </p:cNvPr>
          <p:cNvSpPr/>
          <p:nvPr userDrawn="1"/>
        </p:nvSpPr>
        <p:spPr>
          <a:xfrm>
            <a:off x="3962995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164AEC0-E358-4EB4-AB5A-6690F3791865}"/>
              </a:ext>
            </a:extLst>
          </p:cNvPr>
          <p:cNvSpPr/>
          <p:nvPr userDrawn="1"/>
        </p:nvSpPr>
        <p:spPr>
          <a:xfrm>
            <a:off x="714632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3032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3984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493502" y="17572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534800E-A18B-4128-B4E9-8D8C6446D900}"/>
              </a:ext>
            </a:extLst>
          </p:cNvPr>
          <p:cNvSpPr/>
          <p:nvPr userDrawn="1"/>
        </p:nvSpPr>
        <p:spPr>
          <a:xfrm>
            <a:off x="797778" y="1438617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4B32B3B-A5F6-4E29-BB11-FAD5271B3BCA}"/>
              </a:ext>
            </a:extLst>
          </p:cNvPr>
          <p:cNvSpPr>
            <a:spLocks noChangeAspect="1"/>
          </p:cNvSpPr>
          <p:nvPr userDrawn="1"/>
        </p:nvSpPr>
        <p:spPr>
          <a:xfrm>
            <a:off x="9805968" y="3941728"/>
            <a:ext cx="1397331" cy="1383857"/>
          </a:xfrm>
          <a:prstGeom prst="ellipse">
            <a:avLst/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841022AF-BF8D-4CD1-B085-8A7B4547899A}"/>
              </a:ext>
            </a:extLst>
          </p:cNvPr>
          <p:cNvSpPr>
            <a:spLocks noChangeAspect="1"/>
          </p:cNvSpPr>
          <p:nvPr userDrawn="1"/>
        </p:nvSpPr>
        <p:spPr>
          <a:xfrm>
            <a:off x="9464100" y="3596277"/>
            <a:ext cx="2081068" cy="2061001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614CB323-962F-4480-9FA2-E59FDE853C95}"/>
              </a:ext>
            </a:extLst>
          </p:cNvPr>
          <p:cNvSpPr>
            <a:spLocks noChangeAspect="1"/>
          </p:cNvSpPr>
          <p:nvPr userDrawn="1"/>
        </p:nvSpPr>
        <p:spPr>
          <a:xfrm>
            <a:off x="9034255" y="4793407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3271725-8EAA-4D8B-8B10-F2593AB294D3}"/>
              </a:ext>
            </a:extLst>
          </p:cNvPr>
          <p:cNvSpPr>
            <a:spLocks noChangeAspect="1"/>
          </p:cNvSpPr>
          <p:nvPr userDrawn="1"/>
        </p:nvSpPr>
        <p:spPr>
          <a:xfrm>
            <a:off x="9447509" y="5325585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0950B34-B371-3240-6705-E890F24F2B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506" y="2158097"/>
            <a:ext cx="8137980" cy="4218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7155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BF3B4B">
                  <a:alpha val="89000"/>
                </a:srgbClr>
              </a:gs>
              <a:gs pos="65000">
                <a:srgbClr val="BF3B4B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026C96E-99AB-FD6B-9F9C-600A3651E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1060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00AEEF"/>
              </a:gs>
              <a:gs pos="65000">
                <a:srgbClr val="00AEEF">
                  <a:alpha val="3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00AEEF"/>
              </a:gs>
              <a:gs pos="65000">
                <a:srgbClr val="00AEEF">
                  <a:alpha val="3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13A0ACC-3E9B-649F-1858-3D9872BA83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5181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NO IMAGE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3367314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2769284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3473073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2769283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3570281" y="1146332"/>
            <a:ext cx="8292453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2769284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BA2604-BE15-4B2A-903F-5A925BB80784}"/>
              </a:ext>
            </a:extLst>
          </p:cNvPr>
          <p:cNvSpPr>
            <a:spLocks noChangeAspect="1"/>
          </p:cNvSpPr>
          <p:nvPr userDrawn="1"/>
        </p:nvSpPr>
        <p:spPr>
          <a:xfrm>
            <a:off x="10248656" y="515909"/>
            <a:ext cx="1223086" cy="1211292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65000">
                <a:srgbClr val="FFC000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Circle: Hollow 23">
            <a:extLst>
              <a:ext uri="{FF2B5EF4-FFF2-40B4-BE49-F238E27FC236}">
                <a16:creationId xmlns:a16="http://schemas.microsoft.com/office/drawing/2014/main" id="{1FDA2510-B9CB-48AD-B6A5-484F1EF4C9AB}"/>
              </a:ext>
            </a:extLst>
          </p:cNvPr>
          <p:cNvSpPr>
            <a:spLocks noChangeAspect="1"/>
          </p:cNvSpPr>
          <p:nvPr userDrawn="1"/>
        </p:nvSpPr>
        <p:spPr>
          <a:xfrm>
            <a:off x="9899853" y="170458"/>
            <a:ext cx="1913758" cy="1895304"/>
          </a:xfrm>
          <a:prstGeom prst="donut">
            <a:avLst>
              <a:gd name="adj" fmla="val 5617"/>
            </a:avLst>
          </a:prstGeom>
          <a:gradFill flip="none" rotWithShape="1">
            <a:gsLst>
              <a:gs pos="0">
                <a:srgbClr val="FFC000"/>
              </a:gs>
              <a:gs pos="65000">
                <a:srgbClr val="FFC000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21267DC-010D-438A-9044-BC46C9AA999A}"/>
              </a:ext>
            </a:extLst>
          </p:cNvPr>
          <p:cNvSpPr>
            <a:spLocks noChangeAspect="1"/>
          </p:cNvSpPr>
          <p:nvPr userDrawn="1"/>
        </p:nvSpPr>
        <p:spPr>
          <a:xfrm>
            <a:off x="11528795" y="1909836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9216B03-6D3D-48E1-9C23-736A84702DD0}"/>
              </a:ext>
            </a:extLst>
          </p:cNvPr>
          <p:cNvSpPr>
            <a:spLocks noChangeAspect="1"/>
          </p:cNvSpPr>
          <p:nvPr userDrawn="1"/>
        </p:nvSpPr>
        <p:spPr>
          <a:xfrm>
            <a:off x="11392969" y="2511468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791E81C-4F52-B240-C8AB-4EA96DFDE1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4020" y="2127267"/>
            <a:ext cx="7278170" cy="4107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109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>
            <a:extLst>
              <a:ext uri="{FF2B5EF4-FFF2-40B4-BE49-F238E27FC236}">
                <a16:creationId xmlns:a16="http://schemas.microsoft.com/office/drawing/2014/main" id="{BD4363AE-205A-4819-9F31-7F4B9BB0442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560"/>
          <a:stretch/>
        </p:blipFill>
        <p:spPr bwMode="auto">
          <a:xfrm>
            <a:off x="238" y="2606"/>
            <a:ext cx="72103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B80E6E3-50FB-46B8-AD03-DCC07D5F9F1E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9936F59-E4A5-4FB7-BC48-4531FE3120E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8CAC6223-6465-4B73-B076-732D2542BB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09A64407-DA70-426D-9DE9-893E4C2C55B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9135213-2D18-4C9E-8A5A-E3648F00984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301C6B40-0608-45DE-9D3E-CCD296A868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E097154-4802-4956-94E4-73576F79F3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E07354F7-D16A-41DB-8123-E6BD66208B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E5860-2384-4691-A332-336D14B7753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78D9816B-4A28-449A-ADA9-D558D0CB40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Circle: Hollow 22">
              <a:extLst>
                <a:ext uri="{FF2B5EF4-FFF2-40B4-BE49-F238E27FC236}">
                  <a16:creationId xmlns:a16="http://schemas.microsoft.com/office/drawing/2014/main" id="{AFD0F331-48F6-436C-9A37-F51AC87A80F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E248FA4-8FB4-467B-BB2C-7C67EFD0B1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D3EC2D2-43E2-401F-852E-D345530D7C9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3B85795-F1B1-4510-9132-9D4DFBF2E85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8C9B3BC-CA00-4779-B18A-D72E3C812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6BF1DDA1-7E8F-4038-AA49-AEF5F3EB20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C9C9628-975D-44E1-B4E9-B9C1E06BAD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7AB84A7-C46E-45A6-A3A2-8C6B3F0763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FD32A33-F548-4165-B771-B22BA770B3C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F49CFC8-0A0A-478C-AE8F-7FE9913520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A36B006-A498-49BC-8B0A-B04BE0FC8E6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EBB3FFC-F938-466A-AB4F-C64A8E768D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7A245F7-C427-44A3-8AA8-C01FF2D6E8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079C50A-77F3-4841-A27A-56720E450F8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48D491-0B4D-4801-AE29-672EF1331D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310ABB2-8829-4081-954C-060F795C620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A1BF5D2-17DB-4295-8864-BD6F8D834B1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626B1BD-8353-473E-A336-1B2C3789D04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3F954E1-B24D-4548-ADC7-5FC3AE57394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63F5DAF-F9FC-47E9-8231-BC562926E6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CF12651-1CFD-4D64-A02D-7BDA3B1378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80B87C1-F227-462F-8141-B0F5FA70BD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1A8BD0D-0305-4A56-9205-DC3A60093B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2487647-FE03-4EFA-8362-CB3F6587751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A7DB594D-AACD-4ED5-8C10-D459DE7E823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063840-D79F-4781-9CBA-3A1EE0A309B6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29F05C63-EFD7-4553-929F-B4959C647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7EC30B2-403C-4C56-8374-3C7B667F8B1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9CA3825-947B-4D5C-A285-B4B4B4DD31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0EC4918-17F4-4239-B224-FB846D2A2E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02975C8-1248-4552-8C21-C14E89D62A4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9484B860-5E7E-4B39-A421-8407DBF1A8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5" name="Circle: Hollow 54">
              <a:extLst>
                <a:ext uri="{FF2B5EF4-FFF2-40B4-BE49-F238E27FC236}">
                  <a16:creationId xmlns:a16="http://schemas.microsoft.com/office/drawing/2014/main" id="{97F2434B-BDBA-423B-B5E9-09CAE81FD81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454D0E0-28E2-4470-1181-AC6E5DB10CED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E51038F-4CAE-7C19-8691-959B4DA896A4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5349EB-FF64-558D-3887-48FB93538B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EACA06C-4468-703C-1ECB-B21E724548DB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C2B9D7A-AC2E-3429-99B1-71DF48827EA0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96722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9B4A9C0C-8128-4278-8F17-3A28A9BE9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937BD5F-D00C-48F7-D1B0-FAA010F678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727817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59323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234D69AB-77EA-4E18-ABFF-964A35289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76470E1-2AEC-0F04-914F-E9A393FF43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19649" y="1205999"/>
            <a:ext cx="7093565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76346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GRAPHIC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 descr="Shape, circle&#10;&#10;Description automatically generated">
            <a:extLst>
              <a:ext uri="{FF2B5EF4-FFF2-40B4-BE49-F238E27FC236}">
                <a16:creationId xmlns:a16="http://schemas.microsoft.com/office/drawing/2014/main" id="{4F2927DF-669F-41E1-8C02-02B43DD1E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091044" y="460008"/>
            <a:ext cx="4583981" cy="361793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269C74B-8F89-E9E6-9CE2-00B465C29C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851898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8754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527ACFC-E9FE-1558-E465-A92BD98940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1143363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65110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A43FC2C-FD82-05B4-D3AB-F8D4CC587C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220" y="1222391"/>
            <a:ext cx="11433630" cy="51498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23785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7F2160B-645D-4E1B-B845-460D16D0474A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44149">
            <a:off x="8774753" y="3117530"/>
            <a:ext cx="3050745" cy="305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159078-6CDF-010F-DA35-619DCA0324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0641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1B8F02F8-EEDB-4CCC-9C11-A6782DFAE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713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10CB9AC-BF4B-30FB-DACF-4484E3E38A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4567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33">
            <a:extLst>
              <a:ext uri="{FF2B5EF4-FFF2-40B4-BE49-F238E27FC236}">
                <a16:creationId xmlns:a16="http://schemas.microsoft.com/office/drawing/2014/main" id="{67022DBB-02B9-4128-AFCD-1D44975BC0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7846" y="30757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2AB014F-6B1D-71C2-11E4-A2D00E7577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46986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7" name="Picture Placeholder 38">
            <a:extLst>
              <a:ext uri="{FF2B5EF4-FFF2-40B4-BE49-F238E27FC236}">
                <a16:creationId xmlns:a16="http://schemas.microsoft.com/office/drawing/2014/main" id="{5DFCF5F3-7711-4726-AA2B-5F73058D7D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630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23A8EE1-BE14-2563-6E24-107DFBEA6A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3264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9" name="Picture Placeholder 52" descr="Two women sitting on a ledge&#10;&#10;Description automatically generated with low confidence">
            <a:extLst>
              <a:ext uri="{FF2B5EF4-FFF2-40B4-BE49-F238E27FC236}">
                <a16:creationId xmlns:a16="http://schemas.microsoft.com/office/drawing/2014/main" id="{181CDFF3-3268-4B33-AEE6-4AC936C4DD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4856" y="3074551"/>
            <a:ext cx="3128359" cy="3139647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9ABD07-1726-8151-2899-4507D080B6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13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F0762832-CA68-4593-A467-AC9D115B36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47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8264F0AE-C14B-49B4-B2DA-9F7D1027D5B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89" b="99761" l="0" r="43004">
                        <a14:foregroundMark x1="10914" y1="33971" x2="93" y2="58373"/>
                        <a14:foregroundMark x1="8209" y1="4306" x2="11567" y2="22249"/>
                        <a14:foregroundMark x1="11567" y1="22249" x2="11567" y2="22249"/>
                        <a14:foregroundMark x1="9515" y1="30144" x2="840" y2="49163"/>
                        <a14:foregroundMark x1="840" y1="49163" x2="653" y2="49282"/>
                        <a14:foregroundMark x1="6716" y1="81100" x2="38340" y2="96172"/>
                        <a14:foregroundMark x1="38340" y1="96172" x2="43190" y2="96890"/>
                        <a14:foregroundMark x1="3731" y1="81220" x2="35261" y2="87679"/>
                        <a14:foregroundMark x1="35261" y1="87679" x2="40299" y2="90311"/>
                        <a14:foregroundMark x1="41698" y1="95335" x2="43097" y2="98804"/>
                        <a14:foregroundMark x1="466" y1="94498" x2="33955" y2="96890"/>
                        <a14:foregroundMark x1="6996" y1="83612" x2="24813" y2="96890"/>
                        <a14:foregroundMark x1="29757" y1="98565" x2="37780" y2="99880"/>
                        <a14:foregroundMark x1="8116" y1="30981" x2="2332" y2="36842"/>
                        <a14:foregroundMark x1="15858" y1="41388" x2="19869" y2="49761"/>
                        <a14:foregroundMark x1="7090" y1="29067" x2="2519" y2="36483"/>
                        <a14:foregroundMark x1="2519" y1="36483" x2="2425" y2="36483"/>
                        <a14:foregroundMark x1="7183" y1="4904" x2="7463" y2="12321"/>
                        <a14:foregroundMark x1="9888" y1="3589" x2="10261" y2="7656"/>
                        <a14:foregroundMark x1="21549" y1="56699" x2="21642" y2="58254"/>
                        <a14:foregroundMark x1="27791" y1="80190" x2="28731" y2="80263"/>
                        <a14:foregroundMark x1="25653" y1="80024" x2="26429" y2="80084"/>
                        <a14:foregroundMark x1="26213" y1="79187" x2="26679" y2="79187"/>
                        <a14:foregroundMark x1="41643" y1="89136" x2="42631" y2="93660"/>
                        <a14:foregroundMark x1="33165" y1="84485" x2="34795" y2="85646"/>
                        <a14:foregroundMark x1="34235" y1="84211" x2="34235" y2="84211"/>
                        <a14:foregroundMark x1="34422" y1="84330" x2="34422" y2="84330"/>
                        <a14:foregroundMark x1="34608" y1="84330" x2="34608" y2="84330"/>
                        <a14:foregroundMark x1="33606" y1="84042" x2="34235" y2="84330"/>
                        <a14:backgroundMark x1="24347" y1="61005" x2="34142" y2="77512"/>
                        <a14:backgroundMark x1="34142" y1="77512" x2="35634" y2="77033"/>
                        <a14:backgroundMark x1="24907" y1="73923" x2="32649" y2="78110"/>
                        <a14:backgroundMark x1="32649" y1="78110" x2="33022" y2="78589"/>
                        <a14:backgroundMark x1="27266" y1="78004" x2="28731" y2="78230"/>
                        <a14:backgroundMark x1="26399" y1="77871" x2="26833" y2="77938"/>
                        <a14:backgroundMark x1="36332" y1="83997" x2="36660" y2="83971"/>
                        <a14:backgroundMark x1="6437" y1="24402" x2="373" y2="30861"/>
                        <a14:backgroundMark x1="373" y1="30861" x2="2146" y2="31579"/>
                        <a14:backgroundMark x1="560" y1="35048" x2="560" y2="36244"/>
                        <a14:backgroundMark x1="1119" y1="36244" x2="746" y2="37201"/>
                        <a14:backgroundMark x1="36474" y1="77632" x2="39086" y2="83373"/>
                        <a14:backgroundMark x1="41604" y1="86005" x2="42227" y2="87364"/>
                        <a14:backgroundMark x1="42257" y1="87321" x2="42537" y2="88876"/>
                        <a14:backgroundMark x1="33396" y1="81818" x2="40299" y2="82177"/>
                        <a14:backgroundMark x1="35443" y1="83852" x2="37407" y2="83852"/>
                        <a14:backgroundMark x1="33209" y1="81699" x2="33209" y2="81699"/>
                        <a14:backgroundMark x1="32929" y1="81699" x2="32929" y2="81699"/>
                        <a14:backgroundMark x1="32649" y1="81699" x2="32649" y2="81699"/>
                        <a14:backgroundMark x1="34422" y1="83732" x2="34422" y2="83732"/>
                        <a14:backgroundMark x1="31250" y1="80383" x2="32369" y2="82177"/>
                        <a14:backgroundMark x1="31903" y1="81699" x2="33675" y2="83971"/>
                        <a14:backgroundMark x1="27612" y1="78349" x2="28638" y2="789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65" r="55360"/>
          <a:stretch/>
        </p:blipFill>
        <p:spPr bwMode="auto">
          <a:xfrm>
            <a:off x="-27525" y="175886"/>
            <a:ext cx="4020928" cy="6707992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9F55C0-EC6D-44B3-BB82-E96A09B3420D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FCA5E31-9580-496F-9E42-1E6F2E07DAC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D9C47CBD-8D33-405D-BC70-B694229714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862EA350-F82E-4D4C-BA13-0794D9500EF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580316D-5DF0-40B5-A3A6-88A87098D0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964DE458-7348-424D-BA0B-DB2033B3D8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96E8319-087F-4D1A-AC1D-37C5993747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40D1CC14-1DFE-4C16-809F-B47B5942D5F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5C80524-C697-4410-9D7A-6F117A5F427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E5DDAF0C-3AFC-46BF-9F33-8199FA60A7F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90E3AB26-4D87-42FF-97FB-5EE9DF934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6E59A0E-54D9-484E-BDE9-532798001B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02106AF-E792-4E14-9E72-A5BF55858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F48818E-1D3B-4F50-8868-77EFFF642D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06DF11D-511A-44B8-9EA4-538E51C5C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A8BCBF9B-A739-486F-AE59-ABE12AE02BB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8E0AB5A-674C-4DE7-93C2-D6BEC62566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611CDE5-2616-4304-9622-97E6956492D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2AEE9CC-82AC-42ED-A5E3-1C1FBB598E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5B07C61-CA3C-4B06-BB3B-252F04600D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1CC1F13-2300-4736-BD4E-CD50123F340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E2B2A1C-13C0-4A0F-AA7F-40CBF328EF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0E9E105-E9DF-4541-B2CA-211978A177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882D4D8-D8CC-400A-A7EB-C0D59FEE4D8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166D34E-8AE8-4558-B308-0690644A3D2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20417FC-C19B-4FF8-AB1B-5739B92BE9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7E7573-727A-400A-9837-0622D270900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186FDA2-140B-4619-8E3A-ADE0E4ACC3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16BE292-FFE3-4054-B1F8-459151E35DF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A0C3C8A-737F-48D0-A8E6-F3C2DA9F5C4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F83213A-1DCA-4D45-B441-286FDD94D2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14399FE-68D5-4F78-94C0-CA2108EBA1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196BB2-B1EB-4BD8-ACAA-839CF157F03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646F30E-3B43-46A7-AC2D-95D5C2C580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CA778B9-DC94-4CD3-9E19-72EC312FE49E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1896B74-8927-4082-B2BA-829CC59DEBD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5DB2747-744C-4272-8285-BCDCA1D76FB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AEDBC75-BAF7-4810-92F3-73941FCA715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7C0EB01-0544-4C72-9B46-42B7697626A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DF00221-B9A0-4B7D-A3CA-FA773C05FD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1828083-BA49-4A75-AE2E-36F0CAD7EBC6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7C3BBF84-0C85-4B2F-B83D-0B97A4E4B9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EACF7882-0404-49EE-B918-3B315360A18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364E2F2-8051-833A-9D97-07C476CB51AD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C40C27-FA21-9FE7-237D-66494D736608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1A3F8D6-A4B3-EBD7-14DB-608DEB406B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5CCD5DC-1D37-CFC5-0041-DBBE67F0F62D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F1EC730-6B0C-C554-21E7-B0028F59464E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28743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43" descr="A picture containing person, standing&#10;&#10;Description automatically generated">
            <a:extLst>
              <a:ext uri="{FF2B5EF4-FFF2-40B4-BE49-F238E27FC236}">
                <a16:creationId xmlns:a16="http://schemas.microsoft.com/office/drawing/2014/main" id="{BA62350B-7699-46E2-AB6F-FE0A3F4030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1878" y="307509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B42F1-4420-8399-8994-E993323136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45149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38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C6E6FF14-ED78-422E-B481-6A622439F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0319" y="3074560"/>
            <a:ext cx="3155207" cy="313750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B5DBB84-24DD-979B-6EB9-CEA1B8C12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74056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32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835F987A-9F04-4897-8887-BD9A33835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8449" y="3077213"/>
            <a:ext cx="3105809" cy="3126242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194C44E-6E77-02F5-20BF-2D8C23E175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7986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59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E525F203-3657-4C12-9D51-52D87FF803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9794" y="308769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6EC2350-4846-AB3C-44EA-FBCABC6C87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20302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6" name="Picture Placeholder 64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7599E71C-A1DF-4DCA-92C8-644EF5AED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5569" y="306819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1D0594B-00A5-9C3E-4043-8959009122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56327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54" descr="A person holding a ball&#10;&#10;Description automatically generated with medium confidence">
            <a:extLst>
              <a:ext uri="{FF2B5EF4-FFF2-40B4-BE49-F238E27FC236}">
                <a16:creationId xmlns:a16="http://schemas.microsoft.com/office/drawing/2014/main" id="{2A1BE4E1-E7A7-41CC-BB61-12289933AD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8629" y="310520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BEFCC6B-682F-9B69-04B4-25F95A2CB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1686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50" descr="A group of women sitting together&#10;&#10;Description automatically generated with low confidence">
            <a:extLst>
              <a:ext uri="{FF2B5EF4-FFF2-40B4-BE49-F238E27FC236}">
                <a16:creationId xmlns:a16="http://schemas.microsoft.com/office/drawing/2014/main" id="{C8AE1489-5A68-4025-8F43-98D28E9AC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8427" y="3074129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C05EED0-F727-316D-3DEA-0B2DE63B3A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4352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225">
            <a:extLst>
              <a:ext uri="{FF2B5EF4-FFF2-40B4-BE49-F238E27FC236}">
                <a16:creationId xmlns:a16="http://schemas.microsoft.com/office/drawing/2014/main" id="{10BC53BA-5DCA-4E4D-A6B7-9F020B472F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34218" y="307574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4D20427-2291-1321-F0F4-293B63E067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3738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6" name="Picture Placeholder 230">
            <a:extLst>
              <a:ext uri="{FF2B5EF4-FFF2-40B4-BE49-F238E27FC236}">
                <a16:creationId xmlns:a16="http://schemas.microsoft.com/office/drawing/2014/main" id="{EFEBBFFA-F6D0-4A08-878C-687BE3AF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2156" y="3087220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2B5AD4E-08EA-812A-54AB-24AF56D468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8760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" name="Picture Placeholder 239">
            <a:extLst>
              <a:ext uri="{FF2B5EF4-FFF2-40B4-BE49-F238E27FC236}">
                <a16:creationId xmlns:a16="http://schemas.microsoft.com/office/drawing/2014/main" id="{9461850F-80C9-4B8C-A8E7-EF6D8D02A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4218" y="30840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97977C9-B106-02FE-9E98-89F720F27E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4922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A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9C893BA-F6EE-4E83-BE58-9A0E22A9CF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81" y="0"/>
            <a:ext cx="80756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>
            <a:extLst>
              <a:ext uri="{FF2B5EF4-FFF2-40B4-BE49-F238E27FC236}">
                <a16:creationId xmlns:a16="http://schemas.microsoft.com/office/drawing/2014/main" id="{2D51AD77-9F8E-4FE5-B3D1-C3092AB60B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98732" l="180" r="51706">
                        <a14:foregroundMark x1="21364" y1="13531" x2="15889" y2="37209"/>
                        <a14:foregroundMark x1="26391" y1="16490" x2="36266" y2="42495"/>
                        <a14:foregroundMark x1="36266" y1="42495" x2="36355" y2="43658"/>
                        <a14:foregroundMark x1="359" y1="29598" x2="15081" y2="30233"/>
                        <a14:foregroundMark x1="10682" y1="26321" x2="9246" y2="30550"/>
                        <a14:foregroundMark x1="21095" y1="29810" x2="24417" y2="36469"/>
                        <a14:foregroundMark x1="808" y1="65751" x2="3501" y2="98837"/>
                        <a14:foregroundMark x1="1077" y1="96617" x2="1077" y2="96617"/>
                        <a14:foregroundMark x1="19300" y1="91438" x2="41023" y2="93763"/>
                        <a14:foregroundMark x1="41023" y1="93763" x2="45781" y2="97252"/>
                        <a14:foregroundMark x1="27828" y1="97252" x2="38959" y2="97357"/>
                        <a14:foregroundMark x1="19659" y1="92600" x2="45601" y2="73467"/>
                        <a14:foregroundMark x1="45601" y1="73467" x2="50718" y2="66808"/>
                        <a14:foregroundMark x1="50718" y1="66808" x2="50987" y2="65751"/>
                        <a14:foregroundMark x1="48115" y1="73362" x2="44844" y2="82321"/>
                        <a14:foregroundMark x1="49372" y1="72622" x2="48333" y2="77592"/>
                        <a14:foregroundMark x1="49192" y1="75370" x2="49124" y2="76188"/>
                        <a14:foregroundMark x1="6732" y1="24630" x2="5386" y2="29493"/>
                        <a14:foregroundMark x1="359" y1="28330" x2="7361" y2="28858"/>
                        <a14:foregroundMark x1="31598" y1="76321" x2="36445" y2="71987"/>
                        <a14:foregroundMark x1="36445" y1="71987" x2="36445" y2="71987"/>
                        <a14:foregroundMark x1="51706" y1="65328" x2="51706" y2="65328"/>
                        <a14:foregroundMark x1="2693" y1="57082" x2="808" y2="66702"/>
                        <a14:foregroundMark x1="628" y1="57822" x2="1257" y2="64482"/>
                        <a14:foregroundMark x1="36715" y1="71036" x2="36715" y2="72727"/>
                        <a14:foregroundMark x1="29623" y1="44715" x2="29533" y2="46300"/>
                        <a14:foregroundMark x1="47038" y1="79070" x2="46409" y2="84567"/>
                        <a14:foregroundMark x1="45871" y1="84249" x2="40305" y2="86892"/>
                        <a14:foregroundMark x1="41293" y1="86469" x2="39677" y2="89218"/>
                        <a14:foregroundMark x1="48115" y1="79281" x2="48115" y2="79493"/>
                        <a14:foregroundMark x1="47127" y1="79493" x2="48115" y2="82030"/>
                        <a14:backgroundMark x1="16338" y1="69027" x2="45961" y2="57400"/>
                        <a14:backgroundMark x1="42255" y1="87987" x2="44704" y2="87421"/>
                        <a14:backgroundMark x1="16068" y1="66702" x2="34111" y2="60359"/>
                        <a14:backgroundMark x1="20916" y1="62579" x2="31329" y2="55074"/>
                        <a14:backgroundMark x1="31329" y1="55074" x2="36804" y2="46300"/>
                        <a14:backgroundMark x1="14632" y1="60571" x2="17594" y2="64482"/>
                        <a14:backgroundMark x1="18851" y1="73679" x2="23160" y2="78753"/>
                        <a14:backgroundMark x1="48474" y1="77907" x2="48474" y2="77907"/>
                        <a14:backgroundMark x1="48025" y1="77907" x2="49551" y2="78436"/>
                        <a14:backgroundMark x1="47756" y1="78013" x2="49192" y2="77484"/>
                        <a14:backgroundMark x1="48384" y1="77590" x2="48419" y2="788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969" r="45115"/>
          <a:stretch/>
        </p:blipFill>
        <p:spPr bwMode="auto">
          <a:xfrm>
            <a:off x="-9526" y="820852"/>
            <a:ext cx="4429125" cy="6046674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80A3703-6F20-45D6-9C88-75098BA5575C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31EA660-5266-4A56-A7D6-0C1E6A3C69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693BEC8D-B687-4817-9ACB-4BDD9224FA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Circle: Hollow 17">
              <a:extLst>
                <a:ext uri="{FF2B5EF4-FFF2-40B4-BE49-F238E27FC236}">
                  <a16:creationId xmlns:a16="http://schemas.microsoft.com/office/drawing/2014/main" id="{7854D696-4032-463D-9207-225848DE992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26B13DD-8B9E-45BE-B559-BB76542596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14140742-013B-4ADB-A18F-83BA2430A60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392C1B2-0DC9-4ABF-8B99-CCFF5DBD26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05585273-FCAB-44B6-BE40-85BF8E6A96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00B9C4B-5CEA-4BFA-9B9C-1D73BA93AE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Circle: Hollow 23">
              <a:extLst>
                <a:ext uri="{FF2B5EF4-FFF2-40B4-BE49-F238E27FC236}">
                  <a16:creationId xmlns:a16="http://schemas.microsoft.com/office/drawing/2014/main" id="{EB43A2BB-E209-4AB6-BB05-633F84CE4FB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7F4B326-2C09-4758-AB22-5DC22D7940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68E4810-BC5E-4BD3-BE2A-587F216266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1779BAB-9358-44D1-9C61-B395F8C753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38BB871-BA65-47C8-8E8E-B58A87FCC4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3FFCA38-51D6-4FD1-A6C2-53FFA93722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0" name="Circle: Hollow 29">
              <a:extLst>
                <a:ext uri="{FF2B5EF4-FFF2-40B4-BE49-F238E27FC236}">
                  <a16:creationId xmlns:a16="http://schemas.microsoft.com/office/drawing/2014/main" id="{F431AEEC-0BF8-4932-BB17-153969613C9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2C7349A2-898C-4034-AD8A-4234401433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E82100B-D46E-4C02-AC3C-BB7CB5A0590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80E1F0B-C39F-4D4A-940A-ED5C3CDE1F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15D6CFA-0A9E-4873-A671-AAB73CE2BE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B5318EB-C539-4ED3-AFD7-013F33B389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A5B5448-A185-4451-941D-B3D444FF51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BA66155-B705-4FED-B920-2C8BA2BE8E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198640C-8FF9-4EDC-8495-E7CA72A4662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192A3B8-787D-439C-BACD-79CD8260E84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88EDF3D6-FE5D-4B26-9A59-4F175ADF2F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C9353BB-5454-4454-86F9-4904F7F16A4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E9A01FA-5DA3-4CA8-B74A-D12B718479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EE9D10C-502B-48D8-AFBB-882ABA7A73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EDCAAD8-810E-4710-A0E5-1EB189EDE10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B2BACA6-1DD9-483B-8391-C1E7D591E7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E9D910D-B2F0-4A1C-A05E-B79E1C9F75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61137BA-27EE-4250-BB80-61C617B3A5B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5C2A4BD-CD2D-43D3-9273-4DAE72C70A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02B2099-5F55-4074-B0C1-21588F74958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574E98C-09FE-4701-B95B-E364E7BAC78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A03763D6-FAA7-484B-84D7-FAB9EC8601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B7B4583-A7A4-49BC-A13D-4173BFBBB9D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B8348E0-241D-4C64-8BE5-E243CF07DF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3AD3BD8-CCF5-40F1-9D42-063E0AEE82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3F720AD-C8DB-4F8E-A530-1CAB421B924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Circle: Hollow 55">
              <a:extLst>
                <a:ext uri="{FF2B5EF4-FFF2-40B4-BE49-F238E27FC236}">
                  <a16:creationId xmlns:a16="http://schemas.microsoft.com/office/drawing/2014/main" id="{DFED4172-20AA-4993-AB8B-DB9042A26C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7" name="Circle: Hollow 56">
              <a:extLst>
                <a:ext uri="{FF2B5EF4-FFF2-40B4-BE49-F238E27FC236}">
                  <a16:creationId xmlns:a16="http://schemas.microsoft.com/office/drawing/2014/main" id="{FA450EDC-1A24-4C82-9091-F0AD5E76F18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7F3DC96-242D-E449-352B-43A698083497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56D286C-5740-0608-BB39-93DA4FDD43C9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58EE8EB-2E9E-8B5A-2F60-696EC94F24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4FAE09-69E3-C06C-5E4C-C2A14B80148D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7D5DADE-F477-6279-AEFF-3679A07DC53F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56422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7" name="Picture Placeholder 216">
            <a:extLst>
              <a:ext uri="{FF2B5EF4-FFF2-40B4-BE49-F238E27FC236}">
                <a16:creationId xmlns:a16="http://schemas.microsoft.com/office/drawing/2014/main" id="{DA64DE30-4E17-479B-A144-247C89F7C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8427" y="30782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28E0675-D05C-4150-C938-5EC48115E5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51841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CF4CE8D6-5767-4368-A797-8EFCF4C06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F58BAEB-6DBB-4EF2-B0FB-E2CFAD2294F3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59E07A-F289-4281-9EB3-E5D873F86035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BF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Placeholder 79">
            <a:extLst>
              <a:ext uri="{FF2B5EF4-FFF2-40B4-BE49-F238E27FC236}">
                <a16:creationId xmlns:a16="http://schemas.microsoft.com/office/drawing/2014/main" id="{2603C81C-176A-4A44-8738-465B40CE5C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38514" y="3070350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DC3FA0C-68D2-674B-7B2C-4E265305FC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8847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3776A9-6127-48AE-9C72-E31814659BD4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B8A2D7-0929-4125-9B8D-CEB46C7D3EDF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5" name="Picture Placeholder 69">
            <a:extLst>
              <a:ext uri="{FF2B5EF4-FFF2-40B4-BE49-F238E27FC236}">
                <a16:creationId xmlns:a16="http://schemas.microsoft.com/office/drawing/2014/main" id="{12DB180C-23DD-4196-9608-03D1822DDD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6918" y="307137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3C802F1-1C8B-53CC-A3BA-591C3975E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34219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A8C6FC33-890B-4699-989C-4ED1262EFB5F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84D672E0-4238-4B77-B14F-1563300BBE02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AB849C-CC41-470A-8FA5-AA561F76F84E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BAF3EA-0715-4594-BB55-9A49834DF666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9" name="Picture Placeholder 74">
            <a:extLst>
              <a:ext uri="{FF2B5EF4-FFF2-40B4-BE49-F238E27FC236}">
                <a16:creationId xmlns:a16="http://schemas.microsoft.com/office/drawing/2014/main" id="{AE47E58D-ADE0-43FB-9C20-6642FC7BBC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4856" y="30782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1B15A44-2AEC-A166-C991-091A966AF0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6047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RIGHT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17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C301A06E-E40C-43DA-A693-88FD6CC669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191" y="252546"/>
            <a:ext cx="5835591" cy="5087438"/>
          </a:xfrm>
          <a:prstGeom prst="rect">
            <a:avLst/>
          </a:prstGeom>
        </p:spPr>
      </p:pic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56DE8111-819E-4672-AF15-09E77F7E2E79}"/>
              </a:ext>
            </a:extLst>
          </p:cNvPr>
          <p:cNvSpPr>
            <a:spLocks noChangeAspect="1"/>
          </p:cNvSpPr>
          <p:nvPr userDrawn="1"/>
        </p:nvSpPr>
        <p:spPr>
          <a:xfrm>
            <a:off x="8471528" y="2834578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802725-9576-4666-A391-F4B5CC304417}"/>
              </a:ext>
            </a:extLst>
          </p:cNvPr>
          <p:cNvSpPr/>
          <p:nvPr userDrawn="1"/>
        </p:nvSpPr>
        <p:spPr>
          <a:xfrm>
            <a:off x="58369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514378-1A79-4680-A38D-1385D5ECBE77}"/>
              </a:ext>
            </a:extLst>
          </p:cNvPr>
          <p:cNvSpPr/>
          <p:nvPr userDrawn="1"/>
        </p:nvSpPr>
        <p:spPr>
          <a:xfrm>
            <a:off x="6932245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76E559-0F1B-4453-B9E5-4917159122CA}"/>
              </a:ext>
            </a:extLst>
          </p:cNvPr>
          <p:cNvSpPr/>
          <p:nvPr userDrawn="1"/>
        </p:nvSpPr>
        <p:spPr>
          <a:xfrm>
            <a:off x="163534" y="1852844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CB207-8FEA-4C48-91E9-64F40B3CDD79}"/>
              </a:ext>
            </a:extLst>
          </p:cNvPr>
          <p:cNvSpPr/>
          <p:nvPr userDrawn="1"/>
        </p:nvSpPr>
        <p:spPr>
          <a:xfrm>
            <a:off x="258705" y="1805795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0D866C-5DCD-4EE9-808D-DD54A112B074}"/>
              </a:ext>
            </a:extLst>
          </p:cNvPr>
          <p:cNvSpPr/>
          <p:nvPr userDrawn="1"/>
        </p:nvSpPr>
        <p:spPr>
          <a:xfrm>
            <a:off x="366502" y="1769942"/>
            <a:ext cx="9740900" cy="4783468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B7D104-5EDB-4EBE-8D72-11A89EF5AF12}"/>
              </a:ext>
            </a:extLst>
          </p:cNvPr>
          <p:cNvSpPr/>
          <p:nvPr userDrawn="1"/>
        </p:nvSpPr>
        <p:spPr>
          <a:xfrm>
            <a:off x="3748912" y="1460651"/>
            <a:ext cx="2885332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557D932-F9C5-4D3F-B5C7-6D75C6E5C90F}"/>
              </a:ext>
            </a:extLst>
          </p:cNvPr>
          <p:cNvSpPr>
            <a:spLocks noChangeAspect="1"/>
          </p:cNvSpPr>
          <p:nvPr userDrawn="1"/>
        </p:nvSpPr>
        <p:spPr>
          <a:xfrm>
            <a:off x="8572113" y="2924275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6CA69D8-19F0-4828-83B5-AEBA0A9C72E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8748942" y="3074902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0BBC232-BAC0-40A1-8F42-FCA7EA500566}"/>
              </a:ext>
            </a:extLst>
          </p:cNvPr>
          <p:cNvSpPr>
            <a:spLocks noChangeAspect="1"/>
          </p:cNvSpPr>
          <p:nvPr userDrawn="1"/>
        </p:nvSpPr>
        <p:spPr>
          <a:xfrm>
            <a:off x="8816540" y="5844425"/>
            <a:ext cx="175952" cy="17425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0ADA4AA-4699-4CC0-AECD-6B3A36C02E10}"/>
              </a:ext>
            </a:extLst>
          </p:cNvPr>
          <p:cNvSpPr>
            <a:spLocks noChangeAspect="1"/>
          </p:cNvSpPr>
          <p:nvPr userDrawn="1"/>
        </p:nvSpPr>
        <p:spPr>
          <a:xfrm>
            <a:off x="9229794" y="6376603"/>
            <a:ext cx="86693" cy="8585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2886E1F-459D-6B84-0DE2-FB62F81806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448" y="2181225"/>
            <a:ext cx="7596116" cy="4159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0035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5" name="Picture Placeholder 24">
            <a:extLst>
              <a:ext uri="{FF2B5EF4-FFF2-40B4-BE49-F238E27FC236}">
                <a16:creationId xmlns:a16="http://schemas.microsoft.com/office/drawing/2014/main" id="{B14C1D5E-D5B8-4181-86A0-A33091D97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3437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F3AE31C-41CC-20B1-E4B6-481AC4764A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82091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4">
            <a:extLst>
              <a:ext uri="{FF2B5EF4-FFF2-40B4-BE49-F238E27FC236}">
                <a16:creationId xmlns:a16="http://schemas.microsoft.com/office/drawing/2014/main" id="{DE0BCFC4-CC25-42AF-86DC-D7E4B67E66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0540" y="-1974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D477B15-30EE-6DC7-3CD7-5ACE7C1099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5005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9">
            <a:extLst>
              <a:ext uri="{FF2B5EF4-FFF2-40B4-BE49-F238E27FC236}">
                <a16:creationId xmlns:a16="http://schemas.microsoft.com/office/drawing/2014/main" id="{520A71E0-7177-4D61-9066-6FC5199641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8725" y="-187439"/>
            <a:ext cx="3128359" cy="3128359"/>
          </a:xfrm>
          <a:prstGeom prst="ellipse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0E7E98A-1FCF-432E-C5D0-C8DFF5F0C7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3105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4C53DADF-2E96-4FD0-9558-AEEEA600145E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44149">
            <a:off x="9371652" y="-147391"/>
            <a:ext cx="3050745" cy="305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7E00569-CF17-700D-8AA9-B9D697F5DA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9447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43" descr="A picture containing person&#10;&#10;Description automatically generated">
            <a:extLst>
              <a:ext uri="{FF2B5EF4-FFF2-40B4-BE49-F238E27FC236}">
                <a16:creationId xmlns:a16="http://schemas.microsoft.com/office/drawing/2014/main" id="{08BCFD84-0579-4926-BBFC-C7CFB3D06E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1117" y="-19112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2C0F92D-EB35-0970-F50E-C574A1EA82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4909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>
            <a:extLst>
              <a:ext uri="{FF2B5EF4-FFF2-40B4-BE49-F238E27FC236}">
                <a16:creationId xmlns:a16="http://schemas.microsoft.com/office/drawing/2014/main" id="{77D461A4-8970-4809-ABD0-39660BFC747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2" y="0"/>
            <a:ext cx="700241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9306B2B-AB90-044C-D5C2-0BAD4DC15983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C666E80-62F1-D7D1-B5C4-9A0565471476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5207213-79A9-46DF-C53F-F8F00FDBE6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0066E51-AF88-947C-CE02-F6DDA4FECC49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8090114-18EA-AF10-5636-531E80EEF171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52093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9" descr="A person with flowers on the head&#10;&#10;Description automatically generated with medium confidence">
            <a:extLst>
              <a:ext uri="{FF2B5EF4-FFF2-40B4-BE49-F238E27FC236}">
                <a16:creationId xmlns:a16="http://schemas.microsoft.com/office/drawing/2014/main" id="{CA779867-0237-46AD-A0F6-961600B32B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1592" y="-214772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B2B6508-0C13-2CA4-C61B-0F8DD8BF6D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6185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34" descr="A group of people sitting on stairs looking at a computer&#10;&#10;Description automatically generated with low confidence">
            <a:extLst>
              <a:ext uri="{FF2B5EF4-FFF2-40B4-BE49-F238E27FC236}">
                <a16:creationId xmlns:a16="http://schemas.microsoft.com/office/drawing/2014/main" id="{96500467-F130-4FDC-88F2-FFB6E3A03D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7187" y="-181596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CE065AEF-BBE3-4E32-408C-23F13944D3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89803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48" descr="A person writing on a chalkboard&#10;&#10;Description automatically generated with medium confidence">
            <a:extLst>
              <a:ext uri="{FF2B5EF4-FFF2-40B4-BE49-F238E27FC236}">
                <a16:creationId xmlns:a16="http://schemas.microsoft.com/office/drawing/2014/main" id="{15CE9E89-66A1-4CED-8762-3831666849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6612" y="-199565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B034E07-D7CD-67A1-79F7-7BEC09BBFE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32773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01">
            <a:extLst>
              <a:ext uri="{FF2B5EF4-FFF2-40B4-BE49-F238E27FC236}">
                <a16:creationId xmlns:a16="http://schemas.microsoft.com/office/drawing/2014/main" id="{86D8F57F-56C0-4587-B013-ACC9DA32D7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7201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AC9A4A1-EA66-258D-9700-C7EEDDB1DC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86796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120" descr="A group of people posing for a photo&#10;&#10;Description automatically generated with low confidence">
            <a:extLst>
              <a:ext uri="{FF2B5EF4-FFF2-40B4-BE49-F238E27FC236}">
                <a16:creationId xmlns:a16="http://schemas.microsoft.com/office/drawing/2014/main" id="{8AF64015-9027-4C00-AA13-27AB6E8C5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6636" y="-1974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00ED940-07F6-6762-E4C7-C7356DC693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9551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0" name="Picture Placeholder 115">
            <a:extLst>
              <a:ext uri="{FF2B5EF4-FFF2-40B4-BE49-F238E27FC236}">
                <a16:creationId xmlns:a16="http://schemas.microsoft.com/office/drawing/2014/main" id="{CFFEB35F-6F7F-44D3-AC0B-C6A452C168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8002" y="-1847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39F3689-CD51-122A-6B18-4F7C827DE4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1812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SA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111" descr="A picture containing text, person, feet&#10;&#10;Description automatically generated">
            <a:extLst>
              <a:ext uri="{FF2B5EF4-FFF2-40B4-BE49-F238E27FC236}">
                <a16:creationId xmlns:a16="http://schemas.microsoft.com/office/drawing/2014/main" id="{F6ED375F-7F58-4C80-9463-D3CB2D5A93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6137" y="-1720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694BDE4-78AA-0FC4-6E1F-65F44FF546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4185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261" descr="A person holding a football ball&#10;&#10;Description automatically generated">
            <a:extLst>
              <a:ext uri="{FF2B5EF4-FFF2-40B4-BE49-F238E27FC236}">
                <a16:creationId xmlns:a16="http://schemas.microsoft.com/office/drawing/2014/main" id="{F705FA6C-BF95-4E05-93CA-B7ED29F1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4292" y="-194068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DF6B02B-192C-092B-C3DD-559167C854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87103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3" name="Picture Placeholder 256" descr="A group of people smiling&#10;&#10;Description automatically generated with low confidence">
            <a:extLst>
              <a:ext uri="{FF2B5EF4-FFF2-40B4-BE49-F238E27FC236}">
                <a16:creationId xmlns:a16="http://schemas.microsoft.com/office/drawing/2014/main" id="{0D8DA78A-2BCE-4BBC-BE2E-089E148988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6137" y="-19689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ABB97F-9894-C0B8-631A-50304D7C10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8231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46">
            <a:extLst>
              <a:ext uri="{FF2B5EF4-FFF2-40B4-BE49-F238E27FC236}">
                <a16:creationId xmlns:a16="http://schemas.microsoft.com/office/drawing/2014/main" id="{CAB63D51-5793-46F1-8744-861B3FD92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9887" y="-196893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4B7EB9A-7FBF-6DBB-255A-A332980F5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149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PAGE S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>
            <a:extLst>
              <a:ext uri="{FF2B5EF4-FFF2-40B4-BE49-F238E27FC236}">
                <a16:creationId xmlns:a16="http://schemas.microsoft.com/office/drawing/2014/main" id="{800FDC1B-0B9C-4C20-A80D-DC43B0FD51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-3489" y="0"/>
            <a:ext cx="84178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B2FD31D6-857F-4AA6-8F21-E540A8982BF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68" b="98928" l="29966" r="98485">
                        <a14:foregroundMark x1="58670" y1="21651" x2="60606" y2="30975"/>
                        <a14:foregroundMark x1="60606" y1="30975" x2="61195" y2="31940"/>
                        <a14:foregroundMark x1="62121" y1="32476" x2="67677" y2="50589"/>
                        <a14:foregroundMark x1="60859" y1="32797" x2="60774" y2="36549"/>
                        <a14:foregroundMark x1="59343" y1="34834" x2="59343" y2="34834"/>
                        <a14:foregroundMark x1="60185" y1="36013" x2="60185" y2="36013"/>
                        <a14:foregroundMark x1="70792" y1="86884" x2="70519" y2="87509"/>
                        <a14:foregroundMark x1="88300" y1="46838" x2="70840" y2="86774"/>
                        <a14:foregroundMark x1="71676" y1="88909" x2="75000" y2="88103"/>
                        <a14:foregroundMark x1="82660" y1="45766" x2="93182" y2="89496"/>
                        <a14:foregroundMark x1="96549" y1="48982" x2="92424" y2="84995"/>
                        <a14:foregroundMark x1="92424" y1="84995" x2="93687" y2="96677"/>
                        <a14:foregroundMark x1="93687" y1="96677" x2="95034" y2="98821"/>
                        <a14:foregroundMark x1="98401" y1="50375" x2="98485" y2="99035"/>
                        <a14:foregroundMark x1="71465" y1="10825" x2="81987" y2="60986"/>
                        <a14:foregroundMark x1="76936" y1="13076" x2="81734" y2="52840"/>
                        <a14:foregroundMark x1="83053" y1="32690" x2="83169" y2="33332"/>
                        <a14:foregroundMark x1="79798" y1="14684" x2="83053" y2="32690"/>
                        <a14:foregroundMark x1="67593" y1="11040" x2="76347" y2="60986"/>
                        <a14:foregroundMark x1="69192" y1="41050" x2="68098" y2="43087"/>
                        <a14:foregroundMark x1="39899" y1="85102" x2="29966" y2="87567"/>
                        <a14:backgroundMark x1="54293" y1="15541" x2="47391" y2="78778"/>
                        <a14:backgroundMark x1="54882" y1="26367" x2="59512" y2="71919"/>
                        <a14:backgroundMark x1="70034" y1="51661" x2="60774" y2="65380"/>
                        <a14:backgroundMark x1="83670" y1="40943" x2="83670" y2="40943"/>
                        <a14:backgroundMark x1="83586" y1="42122" x2="83586" y2="35906"/>
                        <a14:backgroundMark x1="83165" y1="33333" x2="85101" y2="43194"/>
                        <a14:backgroundMark x1="83249" y1="32690" x2="83249" y2="32690"/>
                        <a14:backgroundMark x1="83249" y1="33226" x2="83249" y2="33226"/>
                        <a14:backgroundMark x1="70455" y1="87460" x2="64057" y2="99250"/>
                        <a14:backgroundMark x1="57660" y1="93783" x2="56566" y2="94105"/>
                        <a14:backgroundMark x1="71633" y1="88639" x2="71633" y2="88639"/>
                        <a14:backgroundMark x1="71886" y1="89603" x2="71128" y2="87996"/>
                        <a14:backgroundMark x1="72054" y1="88853" x2="72054" y2="88853"/>
                        <a14:backgroundMark x1="71970" y1="89175" x2="71970" y2="891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235"/>
          <a:stretch/>
        </p:blipFill>
        <p:spPr bwMode="auto">
          <a:xfrm flipH="1">
            <a:off x="57" y="0"/>
            <a:ext cx="60410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94A0EA2-3F94-4C73-8F02-08EA82AE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965" y="5483182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6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4065182-3320-4996-BB7C-0F5CF54AD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6965" y="6191077"/>
            <a:ext cx="6543563" cy="431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r">
              <a:buNone/>
              <a:defRPr lang="en-US" sz="2800" b="1" i="1" baseline="0" dirty="0" smtClean="0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nl-NL" dirty="0"/>
            </a:lvl5pPr>
          </a:lstStyle>
          <a:p>
            <a:pPr marL="228600" lvl="0" indent="-457200">
              <a:spcBef>
                <a:spcPct val="0"/>
              </a:spcBef>
            </a:pPr>
            <a:r>
              <a:rPr lang="en-US"/>
              <a:t>Edit Sub tit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39AFC3-8993-45A9-9B9A-68C76A597C16}"/>
              </a:ext>
            </a:extLst>
          </p:cNvPr>
          <p:cNvSpPr txBox="1">
            <a:spLocks/>
          </p:cNvSpPr>
          <p:nvPr userDrawn="1"/>
        </p:nvSpPr>
        <p:spPr>
          <a:xfrm>
            <a:off x="9129466" y="4991849"/>
            <a:ext cx="2781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2400" kern="1200">
                <a:solidFill>
                  <a:schemeClr val="tx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E3C10FB-C37C-4AEC-B516-83384F122C67}" type="datetime4">
              <a:rPr lang="en-US" sz="2000" b="1" smtClean="0">
                <a:solidFill>
                  <a:schemeClr val="accent4">
                    <a:lumMod val="75000"/>
                  </a:schemeClr>
                </a:solidFill>
              </a:rPr>
              <a:pPr algn="r"/>
              <a:t>July 12, 2024</a:t>
            </a:fld>
            <a:endParaRPr lang="nl-NL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824F2D-8428-405D-8215-08C1B17AB63A}"/>
              </a:ext>
            </a:extLst>
          </p:cNvPr>
          <p:cNvGrpSpPr/>
          <p:nvPr userDrawn="1"/>
        </p:nvGrpSpPr>
        <p:grpSpPr>
          <a:xfrm>
            <a:off x="6073832" y="268219"/>
            <a:ext cx="5836821" cy="5088756"/>
            <a:chOff x="5836362" y="68074"/>
            <a:chExt cx="6083274" cy="53552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BBCC79-C6AC-4480-BB87-90CB6D6781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56289" y="1522851"/>
              <a:ext cx="307649" cy="307649"/>
            </a:xfrm>
            <a:prstGeom prst="ellipse">
              <a:avLst/>
            </a:prstGeom>
            <a:solidFill>
              <a:srgbClr val="BF3B4B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Circle: Hollow 11">
              <a:extLst>
                <a:ext uri="{FF2B5EF4-FFF2-40B4-BE49-F238E27FC236}">
                  <a16:creationId xmlns:a16="http://schemas.microsoft.com/office/drawing/2014/main" id="{B41E0E68-8E5F-4106-A3B8-D34E4D9781A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36362" y="2343356"/>
              <a:ext cx="1733214" cy="1733214"/>
            </a:xfrm>
            <a:prstGeom prst="donut">
              <a:avLst>
                <a:gd name="adj" fmla="val 5617"/>
              </a:avLst>
            </a:prstGeom>
            <a:solidFill>
              <a:srgbClr val="BF3B4B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791586FD-914C-44E4-A2AA-46C88865C45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14" y="2506279"/>
              <a:ext cx="1424348" cy="1424348"/>
            </a:xfrm>
            <a:prstGeom prst="donut">
              <a:avLst>
                <a:gd name="adj" fmla="val 15338"/>
              </a:avLst>
            </a:prstGeom>
            <a:solidFill>
              <a:srgbClr val="BF3B4B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210AE92-A0DC-46D3-8C67-E6D8FE86759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86100" y="3617941"/>
              <a:ext cx="1456332" cy="1456332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17000"/>
                  </a:srgbClr>
                </a:gs>
                <a:gs pos="65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4762F36F-C3B6-4FFD-AB79-4FE5E0C0E00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29797" y="3254398"/>
              <a:ext cx="2168939" cy="2168939"/>
            </a:xfrm>
            <a:prstGeom prst="donut">
              <a:avLst>
                <a:gd name="adj" fmla="val 5617"/>
              </a:avLst>
            </a:prstGeom>
            <a:gradFill flip="none" rotWithShape="1">
              <a:gsLst>
                <a:gs pos="0">
                  <a:srgbClr val="00AEEF">
                    <a:alpha val="18000"/>
                  </a:srgbClr>
                </a:gs>
                <a:gs pos="63000">
                  <a:srgbClr val="A3C7E7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821BD98-A801-43A1-909D-93A59E01F9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413110" y="812102"/>
              <a:ext cx="748874" cy="748874"/>
            </a:xfrm>
            <a:prstGeom prst="ellipse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Circle: Hollow 16">
              <a:extLst>
                <a:ext uri="{FF2B5EF4-FFF2-40B4-BE49-F238E27FC236}">
                  <a16:creationId xmlns:a16="http://schemas.microsoft.com/office/drawing/2014/main" id="{20F74DE6-2D32-4089-9E95-1A0274C56E5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304303" y="706421"/>
              <a:ext cx="958557" cy="958557"/>
            </a:xfrm>
            <a:prstGeom prst="donut">
              <a:avLst>
                <a:gd name="adj" fmla="val 561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7083ED0-00D2-4C05-87D1-7BC58EDCC1D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99012" y="1322806"/>
              <a:ext cx="203847" cy="203847"/>
            </a:xfrm>
            <a:prstGeom prst="ellipse">
              <a:avLst/>
            </a:prstGeom>
            <a:solidFill>
              <a:srgbClr val="D2EE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AB2E404A-FFF3-4497-89F5-612EC2B490A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65522" y="1858447"/>
              <a:ext cx="1733214" cy="1733214"/>
            </a:xfrm>
            <a:prstGeom prst="donut">
              <a:avLst>
                <a:gd name="adj" fmla="val 3482"/>
              </a:avLst>
            </a:prstGeom>
            <a:solidFill>
              <a:schemeClr val="bg1">
                <a:lumMod val="6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0" name="Circle: Hollow 19">
              <a:extLst>
                <a:ext uri="{FF2B5EF4-FFF2-40B4-BE49-F238E27FC236}">
                  <a16:creationId xmlns:a16="http://schemas.microsoft.com/office/drawing/2014/main" id="{B99827D9-47B2-4138-A4EA-00A9352BEC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18917" y="1741180"/>
              <a:ext cx="1424348" cy="1424348"/>
            </a:xfrm>
            <a:prstGeom prst="donut">
              <a:avLst>
                <a:gd name="adj" fmla="val 9461"/>
              </a:avLst>
            </a:prstGeom>
            <a:solidFill>
              <a:schemeClr val="tx1">
                <a:lumMod val="50000"/>
                <a:lumOff val="5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E38CA1-E480-45E1-9D6C-0C1F3107BB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17691" y="2424274"/>
              <a:ext cx="300779" cy="30077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9B80B1-9473-43E8-99AE-A412D0720E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39107" y="2252134"/>
              <a:ext cx="402440" cy="402440"/>
            </a:xfrm>
            <a:prstGeom prst="ellipse">
              <a:avLst/>
            </a:prstGeom>
            <a:solidFill>
              <a:srgbClr val="FFC0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05C0931-295E-47BA-974D-1952FCFE60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44461" y="891447"/>
              <a:ext cx="431359" cy="431359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291048A-CD54-4995-BB38-3E419A9916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59825" y="1094859"/>
              <a:ext cx="1382551" cy="138255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alpha val="57000"/>
                  </a:srgbClr>
                </a:gs>
                <a:gs pos="73000">
                  <a:srgbClr val="A3C7E7">
                    <a:alpha val="82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7330E8B5-D698-46AA-8F89-4A451AB9F12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62860" y="1586747"/>
              <a:ext cx="1733214" cy="1733214"/>
            </a:xfrm>
            <a:prstGeom prst="donut">
              <a:avLst>
                <a:gd name="adj" fmla="val 5081"/>
              </a:avLst>
            </a:prstGeom>
            <a:solidFill>
              <a:schemeClr val="tx1">
                <a:lumMod val="50000"/>
                <a:lumOff val="5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1C65E20-2484-405B-B2EF-6DDEE48583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946353" y="2633363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6ABC50-FC3F-4081-BCB3-D4CE9399B9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78151" y="977090"/>
              <a:ext cx="183381" cy="183381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02AB79-6861-468F-BF83-E88CF5D0659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736255" y="817111"/>
              <a:ext cx="183381" cy="183381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ED416B2-525A-492D-8C53-92CD3DB24EF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281802" y="4514224"/>
              <a:ext cx="183381" cy="183381"/>
            </a:xfrm>
            <a:prstGeom prst="ellipse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E0B07DB-B559-4ECA-81AA-8B87503DD5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007395" y="3983154"/>
              <a:ext cx="334152" cy="334152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E0C08DE-52C2-4728-BBC6-3838ABB20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12505" y="5074273"/>
              <a:ext cx="90354" cy="903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AF44571-8068-4A9B-9800-D3FA194451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26000" y="3071016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47F39D1-461B-49BB-814A-47CE920A9FBC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9639771" y="337742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90C7BBF-1207-4CB2-949F-1A356A3C9E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002794" y="202415"/>
              <a:ext cx="183381" cy="183381"/>
            </a:xfrm>
            <a:prstGeom prst="ellipse">
              <a:avLst/>
            </a:prstGeom>
            <a:solidFill>
              <a:srgbClr val="BF3B4B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123BB0D-FEF7-4E6D-AC6C-684E75537A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433497" y="762464"/>
              <a:ext cx="90354" cy="9035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7A00F6D-E380-4583-9558-5C332205B4C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242869" y="564388"/>
              <a:ext cx="128893" cy="12889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C7E47A0-93DE-4167-BE42-C6A4334BCF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12620" y="2093549"/>
              <a:ext cx="93342" cy="9334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322CAF8-822C-4A75-8C04-0585B97CC38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52820" y="1879241"/>
              <a:ext cx="216782" cy="216782"/>
            </a:xfrm>
            <a:prstGeom prst="ellipse">
              <a:avLst/>
            </a:prstGeom>
            <a:solidFill>
              <a:srgbClr val="739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B83010F-5809-4AF8-BF7F-723F9BE1F6F0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435765" y="2894979"/>
              <a:ext cx="96878" cy="9687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04FECAA-3DDA-4BDD-8514-3F43D07070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554561" y="739240"/>
              <a:ext cx="355619" cy="355619"/>
            </a:xfrm>
            <a:prstGeom prst="ellipse">
              <a:avLst/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73000">
                  <a:srgbClr val="BF3B4B">
                    <a:alpha val="94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FB26902-76D4-46DB-866A-D1D5E96B7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634584" y="305973"/>
              <a:ext cx="102066" cy="102066"/>
            </a:xfrm>
            <a:prstGeom prst="ellipse">
              <a:avLst/>
            </a:prstGeom>
            <a:solidFill>
              <a:srgbClr val="A3C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882E03-6543-49B5-AFBF-9B1D337DD37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424401" y="2477410"/>
              <a:ext cx="96878" cy="96878"/>
            </a:xfrm>
            <a:prstGeom prst="ellipse">
              <a:avLst/>
            </a:prstGeom>
            <a:solidFill>
              <a:srgbClr val="BF3B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83DB505-EA97-41D8-8BA5-EA1C78A8CBF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312303" y="116404"/>
              <a:ext cx="64447" cy="644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242A63C-0228-4B57-838B-7C54BD9549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11645938" y="504290"/>
              <a:ext cx="96878" cy="968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E27683A-392E-488D-B5AB-9B95B069EC2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755043" y="1432793"/>
              <a:ext cx="96878" cy="9687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502203-1B52-4DE3-A033-BC211C613C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42205" y="4754960"/>
              <a:ext cx="187262" cy="18726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679FD8-CC2D-4D06-B260-97A41142AD7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864654" y="3443803"/>
              <a:ext cx="96878" cy="96878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856AB69-34B7-4FE4-893C-2CFAC755808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907094" y="3994504"/>
              <a:ext cx="121395" cy="121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835153C-900F-4E9B-AEF2-B6DD884CE5D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657178" y="2479759"/>
              <a:ext cx="92018" cy="9201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44A3382-F47F-4D0E-BE46-438AFC178B5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9524981" y="3693726"/>
              <a:ext cx="300778" cy="300778"/>
            </a:xfrm>
            <a:prstGeom prst="ellipse">
              <a:avLst/>
            </a:prstGeom>
            <a:solidFill>
              <a:schemeClr val="accent4">
                <a:lumMod val="75000"/>
                <a:alpha val="5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Circle: Hollow 50">
              <a:extLst>
                <a:ext uri="{FF2B5EF4-FFF2-40B4-BE49-F238E27FC236}">
                  <a16:creationId xmlns:a16="http://schemas.microsoft.com/office/drawing/2014/main" id="{F8F852AA-9AD6-49F5-8594-5D893E0407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186175" y="68074"/>
              <a:ext cx="1404538" cy="1404538"/>
            </a:xfrm>
            <a:prstGeom prst="donut">
              <a:avLst>
                <a:gd name="adj" fmla="val 5617"/>
              </a:avLst>
            </a:prstGeom>
            <a:gradFill>
              <a:gsLst>
                <a:gs pos="18000">
                  <a:srgbClr val="FFC000">
                    <a:alpha val="28000"/>
                  </a:srgbClr>
                </a:gs>
                <a:gs pos="53000">
                  <a:srgbClr val="BF3B4B">
                    <a:alpha val="59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2" name="Circle: Hollow 51">
              <a:extLst>
                <a:ext uri="{FF2B5EF4-FFF2-40B4-BE49-F238E27FC236}">
                  <a16:creationId xmlns:a16="http://schemas.microsoft.com/office/drawing/2014/main" id="{9DE2F6B0-43DC-4732-A8E3-32B1AA472B6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43532" y="592911"/>
              <a:ext cx="1033218" cy="1033218"/>
            </a:xfrm>
            <a:prstGeom prst="donut">
              <a:avLst>
                <a:gd name="adj" fmla="val 14511"/>
              </a:avLst>
            </a:prstGeom>
            <a:gradFill flip="none" rotWithShape="1">
              <a:gsLst>
                <a:gs pos="0">
                  <a:srgbClr val="00AEEF"/>
                </a:gs>
                <a:gs pos="100000">
                  <a:srgbClr val="A3C7E7">
                    <a:alpha val="37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nl-NL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03C231B-68F1-2BA4-C20D-DA17B8E07DEA}"/>
              </a:ext>
            </a:extLst>
          </p:cNvPr>
          <p:cNvGrpSpPr/>
          <p:nvPr userDrawn="1"/>
        </p:nvGrpSpPr>
        <p:grpSpPr>
          <a:xfrm>
            <a:off x="151201" y="216903"/>
            <a:ext cx="5241454" cy="644967"/>
            <a:chOff x="0" y="0"/>
            <a:chExt cx="3793402" cy="5594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BA8CB21-DA6E-5C6D-7BFD-BA3FA5E40FBB}"/>
                </a:ext>
              </a:extLst>
            </p:cNvPr>
            <p:cNvSpPr/>
            <p:nvPr userDrawn="1"/>
          </p:nvSpPr>
          <p:spPr>
            <a:xfrm>
              <a:off x="0" y="0"/>
              <a:ext cx="3793402" cy="55943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9EB1183-A4EA-1665-87C7-2FD8DA723C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95868" y="50488"/>
              <a:ext cx="1207135" cy="46545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5C4D59A-393D-71CE-7FFD-0FB2B699599F}"/>
                </a:ext>
              </a:extLst>
            </p:cNvPr>
            <p:cNvPicPr>
              <a:picLocks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6857" y="50488"/>
              <a:ext cx="1205865" cy="4641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3BB56B1-13EB-7870-ADEB-13E4259E901E}"/>
                </a:ext>
              </a:extLst>
            </p:cNvPr>
            <p:cNvPicPr>
              <a:picLocks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" y="50488"/>
              <a:ext cx="1205865" cy="46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15309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W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251">
            <a:extLst>
              <a:ext uri="{FF2B5EF4-FFF2-40B4-BE49-F238E27FC236}">
                <a16:creationId xmlns:a16="http://schemas.microsoft.com/office/drawing/2014/main" id="{7C336B2F-321B-456B-81E0-9A1CEE04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0540" y="-18619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0F521C2-ACDA-3079-573C-099A038F4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2086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D7979C5-F4D8-4423-B5AA-54DDDC575CB7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35236"/>
            <a:ext cx="3653741" cy="3618510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180414E0-8FF5-4F07-8B3E-D06B7F82F279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45539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87" descr="A boat in the water with a city in the background&#10;&#10;Description automatically generated with medium confidence">
            <a:extLst>
              <a:ext uri="{FF2B5EF4-FFF2-40B4-BE49-F238E27FC236}">
                <a16:creationId xmlns:a16="http://schemas.microsoft.com/office/drawing/2014/main" id="{93D9F701-A45B-4056-9089-69A8A0B88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4292" y="-172071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5F4C014-8C59-451A-91E2-1BD5CC505E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7189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982B08F6-1496-4C53-9211-3F83785C98BD}"/>
              </a:ext>
            </a:extLst>
          </p:cNvPr>
          <p:cNvSpPr>
            <a:spLocks noChangeAspect="1"/>
          </p:cNvSpPr>
          <p:nvPr userDrawn="1"/>
        </p:nvSpPr>
        <p:spPr>
          <a:xfrm>
            <a:off x="9058902" y="-447575"/>
            <a:ext cx="3653741" cy="3618510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C587F0F4-929E-4A62-878F-70D862B3C03E}"/>
              </a:ext>
            </a:extLst>
          </p:cNvPr>
          <p:cNvSpPr>
            <a:spLocks noChangeAspect="1"/>
          </p:cNvSpPr>
          <p:nvPr userDrawn="1"/>
        </p:nvSpPr>
        <p:spPr>
          <a:xfrm>
            <a:off x="9159487" y="-357878"/>
            <a:ext cx="3464711" cy="3431302"/>
          </a:xfrm>
          <a:prstGeom prst="donut">
            <a:avLst>
              <a:gd name="adj" fmla="val 2682"/>
            </a:avLst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91">
            <a:extLst>
              <a:ext uri="{FF2B5EF4-FFF2-40B4-BE49-F238E27FC236}">
                <a16:creationId xmlns:a16="http://schemas.microsoft.com/office/drawing/2014/main" id="{AC988EF4-DC1B-47A5-9A3F-A94DF56565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34292" y="-20640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0493398-3253-A5CC-045D-A7E61E8571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41911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OTH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23" name="Circle: Hollow 22">
            <a:extLst>
              <a:ext uri="{FF2B5EF4-FFF2-40B4-BE49-F238E27FC236}">
                <a16:creationId xmlns:a16="http://schemas.microsoft.com/office/drawing/2014/main" id="{C1E05237-1A71-40C4-BE96-A18B9B146F07}"/>
              </a:ext>
            </a:extLst>
          </p:cNvPr>
          <p:cNvSpPr>
            <a:spLocks noChangeAspect="1"/>
          </p:cNvSpPr>
          <p:nvPr userDrawn="1"/>
        </p:nvSpPr>
        <p:spPr>
          <a:xfrm>
            <a:off x="9068427" y="-434301"/>
            <a:ext cx="3653741" cy="3618510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92F61767-004A-4E28-AC40-A5FB15F9DCE6}"/>
              </a:ext>
            </a:extLst>
          </p:cNvPr>
          <p:cNvSpPr>
            <a:spLocks noChangeAspect="1"/>
          </p:cNvSpPr>
          <p:nvPr userDrawn="1"/>
        </p:nvSpPr>
        <p:spPr>
          <a:xfrm>
            <a:off x="9169012" y="-340646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8" name="Picture Placeholder 96">
            <a:extLst>
              <a:ext uri="{FF2B5EF4-FFF2-40B4-BE49-F238E27FC236}">
                <a16:creationId xmlns:a16="http://schemas.microsoft.com/office/drawing/2014/main" id="{BE534D03-BC3E-41D3-86E8-FE5C239CF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7187" y="-186197"/>
            <a:ext cx="3128359" cy="3128359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81A9BC4-4577-D4C6-C7FE-0579FD5B57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288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_CHOOS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BEFBCC-F318-41F7-A132-DB13578E1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545304" y="1820918"/>
            <a:ext cx="5505467" cy="4799638"/>
          </a:xfrm>
          <a:prstGeom prst="rect">
            <a:avLst/>
          </a:prstGeom>
        </p:spPr>
      </p:pic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9C70BD3E-C9D9-4F81-94C9-3BE89B4CED01}"/>
              </a:ext>
            </a:extLst>
          </p:cNvPr>
          <p:cNvSpPr>
            <a:spLocks noChangeAspect="1"/>
          </p:cNvSpPr>
          <p:nvPr userDrawn="1"/>
        </p:nvSpPr>
        <p:spPr>
          <a:xfrm>
            <a:off x="9081128" y="-488511"/>
            <a:ext cx="3653741" cy="3618510"/>
          </a:xfrm>
          <a:prstGeom prst="donut">
            <a:avLst>
              <a:gd name="adj" fmla="val 1425"/>
            </a:avLst>
          </a:prstGeom>
          <a:solidFill>
            <a:schemeClr val="tx1">
              <a:lumMod val="50000"/>
              <a:lumOff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A6FAA8F-A86A-411A-9FC3-EFBDD1332726}"/>
              </a:ext>
            </a:extLst>
          </p:cNvPr>
          <p:cNvSpPr>
            <a:spLocks noChangeAspect="1"/>
          </p:cNvSpPr>
          <p:nvPr userDrawn="1"/>
        </p:nvSpPr>
        <p:spPr>
          <a:xfrm>
            <a:off x="9181713" y="-398814"/>
            <a:ext cx="3464711" cy="3431302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63000">
                <a:schemeClr val="tx1">
                  <a:lumMod val="50000"/>
                  <a:lumOff val="50000"/>
                  <a:alpha val="39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9CCF839-CB7A-451F-9F2C-6D310B5F0286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328725" y="-250939"/>
            <a:ext cx="3128359" cy="3128359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nl-NL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4303CE4-4EF8-8C6C-D299-C37EEC1196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987" y="1349195"/>
            <a:ext cx="7423538" cy="5118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11435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53">
            <a:extLst>
              <a:ext uri="{FF2B5EF4-FFF2-40B4-BE49-F238E27FC236}">
                <a16:creationId xmlns:a16="http://schemas.microsoft.com/office/drawing/2014/main" id="{9B2EF9C4-E552-4E71-AE20-8B63C4445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74"/>
          <a:stretch/>
        </p:blipFill>
        <p:spPr>
          <a:xfrm>
            <a:off x="9452200" y="-185519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A151164-DB64-1F4A-C49C-3DC0A9A92A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53579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E66E0CA9-813C-4A38-A442-D54CF42E456D}"/>
              </a:ext>
            </a:extLst>
          </p:cNvPr>
          <p:cNvSpPr>
            <a:spLocks noChangeAspect="1"/>
          </p:cNvSpPr>
          <p:nvPr userDrawn="1"/>
        </p:nvSpPr>
        <p:spPr>
          <a:xfrm>
            <a:off x="9156043" y="-430893"/>
            <a:ext cx="3439395" cy="3406231"/>
          </a:xfrm>
          <a:prstGeom prst="donut">
            <a:avLst>
              <a:gd name="adj" fmla="val 1425"/>
            </a:avLst>
          </a:prstGeom>
          <a:solidFill>
            <a:srgbClr val="FFC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EE4F08F6-241A-48C3-95FB-BCE74183AF22}"/>
              </a:ext>
            </a:extLst>
          </p:cNvPr>
          <p:cNvSpPr>
            <a:spLocks noChangeAspect="1"/>
          </p:cNvSpPr>
          <p:nvPr userDrawn="1"/>
        </p:nvSpPr>
        <p:spPr>
          <a:xfrm>
            <a:off x="9256323" y="-342876"/>
            <a:ext cx="3236996" cy="3205782"/>
          </a:xfrm>
          <a:prstGeom prst="donut">
            <a:avLst>
              <a:gd name="adj" fmla="val 268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7" name="Picture Placeholder 43">
            <a:extLst>
              <a:ext uri="{FF2B5EF4-FFF2-40B4-BE49-F238E27FC236}">
                <a16:creationId xmlns:a16="http://schemas.microsoft.com/office/drawing/2014/main" id="{77C9E4C0-91E8-49BA-94FD-77F0192FB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34123" y="-19365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8175B43-5090-8A6C-EEB5-8D29870071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29467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18989EB-1D25-438A-979E-CDBA9AE68EB3}"/>
              </a:ext>
            </a:extLst>
          </p:cNvPr>
          <p:cNvSpPr>
            <a:spLocks noChangeAspect="1"/>
          </p:cNvSpPr>
          <p:nvPr userDrawn="1"/>
        </p:nvSpPr>
        <p:spPr>
          <a:xfrm>
            <a:off x="9166646" y="-431513"/>
            <a:ext cx="3439395" cy="3406231"/>
          </a:xfrm>
          <a:prstGeom prst="donut">
            <a:avLst>
              <a:gd name="adj" fmla="val 1425"/>
            </a:avLst>
          </a:prstGeom>
          <a:solidFill>
            <a:srgbClr val="00AEEF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10CD1C5A-B87E-486B-984D-342A4A3D391A}"/>
              </a:ext>
            </a:extLst>
          </p:cNvPr>
          <p:cNvSpPr>
            <a:spLocks noChangeAspect="1"/>
          </p:cNvSpPr>
          <p:nvPr userDrawn="1"/>
        </p:nvSpPr>
        <p:spPr>
          <a:xfrm>
            <a:off x="9250981" y="-332745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00AEEF">
                  <a:alpha val="18000"/>
                </a:srgbClr>
              </a:gs>
              <a:gs pos="63000">
                <a:srgbClr val="A3C7E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24" name="Picture Placeholder 48">
            <a:extLst>
              <a:ext uri="{FF2B5EF4-FFF2-40B4-BE49-F238E27FC236}">
                <a16:creationId xmlns:a16="http://schemas.microsoft.com/office/drawing/2014/main" id="{E9D9A240-BDA6-4525-B95E-41E70455B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27419" y="-154537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17838D-FB38-56E4-1FE0-2D4337B925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6931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F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9" name="Picture Placeholder 34">
            <a:extLst>
              <a:ext uri="{FF2B5EF4-FFF2-40B4-BE49-F238E27FC236}">
                <a16:creationId xmlns:a16="http://schemas.microsoft.com/office/drawing/2014/main" id="{E0B88EC2-4601-43F2-A32E-E9DD6E9881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56447" y="-171005"/>
            <a:ext cx="2881395" cy="2881395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C564B77-7F94-6F2F-DA09-D6A8805B08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38953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IMAGE TOP AS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4039F63-AFA6-40A9-8E0A-C624F9480975}"/>
              </a:ext>
            </a:extLst>
          </p:cNvPr>
          <p:cNvSpPr/>
          <p:nvPr userDrawn="1"/>
        </p:nvSpPr>
        <p:spPr>
          <a:xfrm rot="10800000">
            <a:off x="0" y="2706790"/>
            <a:ext cx="12192000" cy="415120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D4E5F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/>
          <p:cNvSpPr/>
          <p:nvPr userDrawn="1"/>
        </p:nvSpPr>
        <p:spPr>
          <a:xfrm>
            <a:off x="0" y="-23018"/>
            <a:ext cx="12192000" cy="29793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163534" y="62654"/>
            <a:ext cx="6543563" cy="706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00AEEF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20" name="Picture 19" descr="Shape, circle&#10;&#10;Description automatically generated">
            <a:extLst>
              <a:ext uri="{FF2B5EF4-FFF2-40B4-BE49-F238E27FC236}">
                <a16:creationId xmlns:a16="http://schemas.microsoft.com/office/drawing/2014/main" id="{F5504CB7-83C7-4D75-BE4A-96C3C4E32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86319" y="1543421"/>
            <a:ext cx="5235100" cy="456393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E1D2DA-051A-4FD8-86D4-2DC965528B3B}"/>
              </a:ext>
            </a:extLst>
          </p:cNvPr>
          <p:cNvSpPr/>
          <p:nvPr userDrawn="1"/>
        </p:nvSpPr>
        <p:spPr>
          <a:xfrm>
            <a:off x="2569028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79F29C-DF39-486D-BE94-BBDD98B0A1DB}"/>
              </a:ext>
            </a:extLst>
          </p:cNvPr>
          <p:cNvSpPr/>
          <p:nvPr userDrawn="1"/>
        </p:nvSpPr>
        <p:spPr>
          <a:xfrm rot="16200000">
            <a:off x="1970998" y="5249097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FFC000"/>
              </a:gs>
              <a:gs pos="100000">
                <a:schemeClr val="accent4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CF6CD8-E4EB-4DC2-B45A-FA062FE56758}"/>
              </a:ext>
            </a:extLst>
          </p:cNvPr>
          <p:cNvSpPr/>
          <p:nvPr userDrawn="1"/>
        </p:nvSpPr>
        <p:spPr>
          <a:xfrm>
            <a:off x="2674787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DC599-CB72-4D6E-AE33-3438AAF20363}"/>
              </a:ext>
            </a:extLst>
          </p:cNvPr>
          <p:cNvSpPr/>
          <p:nvPr userDrawn="1"/>
        </p:nvSpPr>
        <p:spPr>
          <a:xfrm rot="16200000">
            <a:off x="1970998" y="3525481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9000">
                <a:srgbClr val="D2EEFC"/>
              </a:gs>
              <a:gs pos="100000">
                <a:srgbClr val="7395D3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6453DA-CB9D-47B7-BE30-1C1632E45AB3}"/>
              </a:ext>
            </a:extLst>
          </p:cNvPr>
          <p:cNvSpPr/>
          <p:nvPr userDrawn="1"/>
        </p:nvSpPr>
        <p:spPr>
          <a:xfrm>
            <a:off x="2771995" y="1146332"/>
            <a:ext cx="8995311" cy="5350807"/>
          </a:xfrm>
          <a:prstGeom prst="roundRect">
            <a:avLst>
              <a:gd name="adj" fmla="val 1415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2C3D5D-AD57-4B3C-AAB1-86F9F763C7BA}"/>
              </a:ext>
            </a:extLst>
          </p:cNvPr>
          <p:cNvSpPr/>
          <p:nvPr userDrawn="1"/>
        </p:nvSpPr>
        <p:spPr>
          <a:xfrm rot="16200000">
            <a:off x="1970997" y="1814138"/>
            <a:ext cx="1494204" cy="560800"/>
          </a:xfrm>
          <a:prstGeom prst="roundRect">
            <a:avLst>
              <a:gd name="adj" fmla="val 6988"/>
            </a:avLst>
          </a:prstGeom>
          <a:gradFill flip="none" rotWithShape="1">
            <a:gsLst>
              <a:gs pos="58000">
                <a:srgbClr val="BF3B4B"/>
              </a:gs>
              <a:gs pos="100000">
                <a:srgbClr val="8A0000"/>
              </a:gs>
            </a:gsLst>
            <a:lin ang="5400000" scaled="1"/>
            <a:tileRect/>
          </a:gradFill>
          <a:ln>
            <a:noFill/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9C703041-1AB1-45D0-AA35-53CC3119569C}"/>
              </a:ext>
            </a:extLst>
          </p:cNvPr>
          <p:cNvSpPr>
            <a:spLocks noChangeAspect="1"/>
          </p:cNvSpPr>
          <p:nvPr userDrawn="1"/>
        </p:nvSpPr>
        <p:spPr>
          <a:xfrm>
            <a:off x="9171648" y="-447936"/>
            <a:ext cx="3439395" cy="3406231"/>
          </a:xfrm>
          <a:prstGeom prst="donut">
            <a:avLst>
              <a:gd name="adj" fmla="val 1425"/>
            </a:avLst>
          </a:prstGeom>
          <a:solidFill>
            <a:srgbClr val="BF3B4B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E461534-585E-485E-A9E5-2CEE8606411E}"/>
              </a:ext>
            </a:extLst>
          </p:cNvPr>
          <p:cNvSpPr>
            <a:spLocks noChangeAspect="1"/>
          </p:cNvSpPr>
          <p:nvPr userDrawn="1"/>
        </p:nvSpPr>
        <p:spPr>
          <a:xfrm>
            <a:off x="9261144" y="-358239"/>
            <a:ext cx="3261454" cy="3230005"/>
          </a:xfrm>
          <a:prstGeom prst="donut">
            <a:avLst>
              <a:gd name="adj" fmla="val 2682"/>
            </a:avLst>
          </a:prstGeom>
          <a:gradFill flip="none" rotWithShape="1">
            <a:gsLst>
              <a:gs pos="0">
                <a:srgbClr val="BF3B4B"/>
              </a:gs>
              <a:gs pos="63000">
                <a:srgbClr val="BF3B4B">
                  <a:alpha val="38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/>
          </a:p>
        </p:txBody>
      </p:sp>
      <p:pic>
        <p:nvPicPr>
          <p:cNvPr id="14" name="Picture Placeholder 55" descr="A picture containing person, people, close&#10;&#10;Description automatically generated">
            <a:extLst>
              <a:ext uri="{FF2B5EF4-FFF2-40B4-BE49-F238E27FC236}">
                <a16:creationId xmlns:a16="http://schemas.microsoft.com/office/drawing/2014/main" id="{A053A14F-3154-48C1-95DE-448E4809B2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7203" y="-211669"/>
            <a:ext cx="2945028" cy="2945028"/>
          </a:xfrm>
          <a:prstGeom prst="ellipse">
            <a:avLst/>
          </a:prstGeom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FD4E3B-BC6B-E152-7E5D-7FA1853196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29827" y="1671951"/>
            <a:ext cx="7366723" cy="4528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Ink Free" panose="03080402000500000000" pitchFamily="66" charset="0"/>
              </a:defRPr>
            </a:lvl1pPr>
            <a:lvl2pPr>
              <a:defRPr>
                <a:latin typeface="Ink Free" panose="03080402000500000000" pitchFamily="66" charset="0"/>
              </a:defRPr>
            </a:lvl2pPr>
            <a:lvl3pPr>
              <a:defRPr>
                <a:latin typeface="Ink Free" panose="03080402000500000000" pitchFamily="66" charset="0"/>
              </a:defRPr>
            </a:lvl3pPr>
            <a:lvl4pPr>
              <a:defRPr>
                <a:latin typeface="Ink Free" panose="03080402000500000000" pitchFamily="66" charset="0"/>
              </a:defRPr>
            </a:lvl4pPr>
            <a:lvl5pPr>
              <a:defRPr>
                <a:latin typeface="Ink Free" panose="03080402000500000000" pitchFamily="66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115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7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75.xml"/><Relationship Id="rId21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0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19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24" Type="http://schemas.openxmlformats.org/officeDocument/2006/relationships/theme" Target="../theme/theme13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37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54122ED7-1914-434F-9883-AE5935302A81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253695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4" r:id="rId2"/>
    <p:sldLayoutId id="2147483825" r:id="rId3"/>
    <p:sldLayoutId id="2147483826" r:id="rId4"/>
    <p:sldLayoutId id="2147483874" r:id="rId5"/>
    <p:sldLayoutId id="2147483876" r:id="rId6"/>
    <p:sldLayoutId id="2147483873" r:id="rId7"/>
    <p:sldLayoutId id="2147483875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76" r:id="rId14"/>
    <p:sldLayoutId id="2147483974" r:id="rId15"/>
    <p:sldLayoutId id="214748397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D672FCC-E76F-4638-A8CE-03BB07DB1DB5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057125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850" r:id="rId2"/>
    <p:sldLayoutId id="2147483851" r:id="rId3"/>
    <p:sldLayoutId id="2147483852" r:id="rId4"/>
    <p:sldLayoutId id="2147483891" r:id="rId5"/>
    <p:sldLayoutId id="2147483892" r:id="rId6"/>
    <p:sldLayoutId id="2147483893" r:id="rId7"/>
    <p:sldLayoutId id="2147483894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71" r:id="rId14"/>
    <p:sldLayoutId id="2147483972" r:id="rId15"/>
    <p:sldLayoutId id="2147483973" r:id="rId16"/>
    <p:sldLayoutId id="214748403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0040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17D016D-D214-4C87-8FC7-68B10373FDFE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868986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0" r:id="rId2"/>
    <p:sldLayoutId id="2147483821" r:id="rId3"/>
    <p:sldLayoutId id="2147483867" r:id="rId4"/>
    <p:sldLayoutId id="2147483868" r:id="rId5"/>
    <p:sldLayoutId id="2147483869" r:id="rId6"/>
    <p:sldLayoutId id="2147483915" r:id="rId7"/>
    <p:sldLayoutId id="2147483916" r:id="rId8"/>
    <p:sldLayoutId id="2147483917" r:id="rId9"/>
    <p:sldLayoutId id="2147483918" r:id="rId10"/>
    <p:sldLayoutId id="2147483997" r:id="rId11"/>
    <p:sldLayoutId id="2147483998" r:id="rId12"/>
    <p:sldLayoutId id="2147483999" r:id="rId13"/>
    <p:sldLayoutId id="2147484000" r:id="rId14"/>
    <p:sldLayoutId id="2147484004" r:id="rId15"/>
    <p:sldLayoutId id="2147484001" r:id="rId16"/>
    <p:sldLayoutId id="2147484002" r:id="rId17"/>
    <p:sldLayoutId id="2147484003" r:id="rId18"/>
    <p:sldLayoutId id="2147483822" r:id="rId19"/>
    <p:sldLayoutId id="2147483817" r:id="rId20"/>
    <p:sldLayoutId id="214748381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F78F4EF-85D1-4B4A-9FB5-E54115C93E04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1158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837" r:id="rId2"/>
    <p:sldLayoutId id="2147483784" r:id="rId3"/>
    <p:sldLayoutId id="2147483870" r:id="rId4"/>
    <p:sldLayoutId id="2147483871" r:id="rId5"/>
    <p:sldLayoutId id="2147483872" r:id="rId6"/>
    <p:sldLayoutId id="2147483920" r:id="rId7"/>
    <p:sldLayoutId id="2147483921" r:id="rId8"/>
    <p:sldLayoutId id="2147483922" r:id="rId9"/>
    <p:sldLayoutId id="2147483923" r:id="rId10"/>
    <p:sldLayoutId id="2147484005" r:id="rId11"/>
    <p:sldLayoutId id="2147484006" r:id="rId12"/>
    <p:sldLayoutId id="2147484007" r:id="rId13"/>
    <p:sldLayoutId id="2147484008" r:id="rId14"/>
    <p:sldLayoutId id="2147484012" r:id="rId15"/>
    <p:sldLayoutId id="2147484009" r:id="rId16"/>
    <p:sldLayoutId id="2147484010" r:id="rId17"/>
    <p:sldLayoutId id="2147484011" r:id="rId18"/>
    <p:sldLayoutId id="2147483767" r:id="rId19"/>
    <p:sldLayoutId id="2147484032" r:id="rId20"/>
    <p:sldLayoutId id="2147484035" r:id="rId21"/>
    <p:sldLayoutId id="2147483740" r:id="rId22"/>
    <p:sldLayoutId id="2147483818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87EE1C9-E666-4B50-B7DD-2BDF88DB411D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79137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835" r:id="rId3"/>
    <p:sldLayoutId id="2147483834" r:id="rId4"/>
    <p:sldLayoutId id="2147483877" r:id="rId5"/>
    <p:sldLayoutId id="2147483878" r:id="rId6"/>
    <p:sldLayoutId id="2147483879" r:id="rId7"/>
    <p:sldLayoutId id="2147483880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77" r:id="rId14"/>
    <p:sldLayoutId id="2147483978" r:id="rId15"/>
    <p:sldLayoutId id="214748397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02D2972E-663A-463B-8CA1-05A0C01C2F2E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72268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36" r:id="rId2"/>
    <p:sldLayoutId id="2147484028" r:id="rId3"/>
    <p:sldLayoutId id="2147484033" r:id="rId4"/>
    <p:sldLayoutId id="2147484034" r:id="rId5"/>
    <p:sldLayoutId id="2147484029" r:id="rId6"/>
    <p:sldLayoutId id="214748403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C52FD201-0153-4BF5-868F-D4D67620383C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606287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814" r:id="rId2"/>
    <p:sldLayoutId id="2147483815" r:id="rId3"/>
    <p:sldLayoutId id="2147483833" r:id="rId4"/>
    <p:sldLayoutId id="2147483827" r:id="rId5"/>
    <p:sldLayoutId id="2147483828" r:id="rId6"/>
    <p:sldLayoutId id="2147483829" r:id="rId7"/>
    <p:sldLayoutId id="2147483881" r:id="rId8"/>
    <p:sldLayoutId id="2147483882" r:id="rId9"/>
    <p:sldLayoutId id="2147483883" r:id="rId10"/>
    <p:sldLayoutId id="2147483884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769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919A812-8BC6-45B6-AC1F-C0396845F39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727954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73" r:id="rId2"/>
    <p:sldLayoutId id="2147483774" r:id="rId3"/>
    <p:sldLayoutId id="2147484017" r:id="rId4"/>
    <p:sldLayoutId id="2147484018" r:id="rId5"/>
    <p:sldLayoutId id="2147484019" r:id="rId6"/>
    <p:sldLayoutId id="2147484021" r:id="rId7"/>
    <p:sldLayoutId id="2147484022" r:id="rId8"/>
    <p:sldLayoutId id="2147484023" r:id="rId9"/>
    <p:sldLayoutId id="2147484026" r:id="rId10"/>
    <p:sldLayoutId id="21474840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0E8F3440-0754-4B0B-9851-5EFDBEFA1ED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68706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76" r:id="rId2"/>
    <p:sldLayoutId id="2147483781" r:id="rId3"/>
    <p:sldLayoutId id="2147483839" r:id="rId4"/>
    <p:sldLayoutId id="2147483830" r:id="rId5"/>
    <p:sldLayoutId id="2147483831" r:id="rId6"/>
    <p:sldLayoutId id="2147483832" r:id="rId7"/>
    <p:sldLayoutId id="2147483889" r:id="rId8"/>
    <p:sldLayoutId id="2147483886" r:id="rId9"/>
    <p:sldLayoutId id="2147483887" r:id="rId10"/>
    <p:sldLayoutId id="2147483888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7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A06B67D6-D2AA-4CB5-BB14-6A217937A716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00964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841" r:id="rId2"/>
    <p:sldLayoutId id="2147483842" r:id="rId3"/>
    <p:sldLayoutId id="2147483840" r:id="rId4"/>
    <p:sldLayoutId id="2147483843" r:id="rId5"/>
    <p:sldLayoutId id="2147483803" r:id="rId6"/>
    <p:sldLayoutId id="2147483802" r:id="rId7"/>
    <p:sldLayoutId id="2147483895" r:id="rId8"/>
    <p:sldLayoutId id="2147483896" r:id="rId9"/>
    <p:sldLayoutId id="2147483897" r:id="rId10"/>
    <p:sldLayoutId id="2147483898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  <p:sldLayoutId id="2147483804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5BC2915C-91CA-41FD-ADEC-0598F2C5F120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36964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5" r:id="rId2"/>
    <p:sldLayoutId id="2147483806" r:id="rId3"/>
    <p:sldLayoutId id="2147483845" r:id="rId4"/>
    <p:sldLayoutId id="2147483846" r:id="rId5"/>
    <p:sldLayoutId id="2147483847" r:id="rId6"/>
    <p:sldLayoutId id="2147483848" r:id="rId7"/>
    <p:sldLayoutId id="2147483900" r:id="rId8"/>
    <p:sldLayoutId id="2147483901" r:id="rId9"/>
    <p:sldLayoutId id="2147483902" r:id="rId10"/>
    <p:sldLayoutId id="2147483903" r:id="rId11"/>
    <p:sldLayoutId id="2147483963" r:id="rId12"/>
    <p:sldLayoutId id="2147483967" r:id="rId13"/>
    <p:sldLayoutId id="2147483968" r:id="rId14"/>
    <p:sldLayoutId id="2147483969" r:id="rId15"/>
    <p:sldLayoutId id="2147483970" r:id="rId16"/>
    <p:sldLayoutId id="2147483964" r:id="rId17"/>
    <p:sldLayoutId id="2147483965" r:id="rId18"/>
    <p:sldLayoutId id="2147483966" r:id="rId19"/>
    <p:sldLayoutId id="2147483807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F9674E2C-1072-4356-A07B-0A32BBDF9221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56082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808" r:id="rId2"/>
    <p:sldLayoutId id="2147483809" r:id="rId3"/>
    <p:sldLayoutId id="2147483856" r:id="rId4"/>
    <p:sldLayoutId id="2147483853" r:id="rId5"/>
    <p:sldLayoutId id="2147483854" r:id="rId6"/>
    <p:sldLayoutId id="2147483855" r:id="rId7"/>
    <p:sldLayoutId id="2147483905" r:id="rId8"/>
    <p:sldLayoutId id="2147483906" r:id="rId9"/>
    <p:sldLayoutId id="2147483907" r:id="rId10"/>
    <p:sldLayoutId id="2147483908" r:id="rId11"/>
    <p:sldLayoutId id="2147483989" r:id="rId12"/>
    <p:sldLayoutId id="2147483990" r:id="rId13"/>
    <p:sldLayoutId id="2147483991" r:id="rId14"/>
    <p:sldLayoutId id="2147483992" r:id="rId15"/>
    <p:sldLayoutId id="2147483996" r:id="rId16"/>
    <p:sldLayoutId id="2147483993" r:id="rId17"/>
    <p:sldLayoutId id="2147483994" r:id="rId18"/>
    <p:sldLayoutId id="2147483995" r:id="rId19"/>
    <p:sldLayoutId id="214748381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90510872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D40E5C91-D701-4DF3-8EA8-6487D751F113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80743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11" r:id="rId2"/>
    <p:sldLayoutId id="2147483812" r:id="rId3"/>
    <p:sldLayoutId id="2147483861" r:id="rId4"/>
    <p:sldLayoutId id="2147483858" r:id="rId5"/>
    <p:sldLayoutId id="2147483859" r:id="rId6"/>
    <p:sldLayoutId id="2147483860" r:id="rId7"/>
    <p:sldLayoutId id="2147483910" r:id="rId8"/>
    <p:sldLayoutId id="2147483911" r:id="rId9"/>
    <p:sldLayoutId id="2147483912" r:id="rId10"/>
    <p:sldLayoutId id="2147483913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813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19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jpeg"/><Relationship Id="rId3" Type="http://schemas.openxmlformats.org/officeDocument/2006/relationships/image" Target="../media/image226.png"/><Relationship Id="rId7" Type="http://schemas.openxmlformats.org/officeDocument/2006/relationships/image" Target="../media/image230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29.jpeg"/><Relationship Id="rId5" Type="http://schemas.openxmlformats.org/officeDocument/2006/relationships/image" Target="../media/image228.jpeg"/><Relationship Id="rId10" Type="http://schemas.openxmlformats.org/officeDocument/2006/relationships/image" Target="../media/image233.png"/><Relationship Id="rId4" Type="http://schemas.openxmlformats.org/officeDocument/2006/relationships/image" Target="../media/image227.jpeg"/><Relationship Id="rId9" Type="http://schemas.openxmlformats.org/officeDocument/2006/relationships/image" Target="../media/image23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png"/><Relationship Id="rId2" Type="http://schemas.openxmlformats.org/officeDocument/2006/relationships/image" Target="../media/image234.png"/><Relationship Id="rId1" Type="http://schemas.openxmlformats.org/officeDocument/2006/relationships/slideLayout" Target="../slideLayouts/slideLayout5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jpeg"/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9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13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2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2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image" Target="../media/image245.jpeg"/><Relationship Id="rId1" Type="http://schemas.openxmlformats.org/officeDocument/2006/relationships/slideLayout" Target="../slideLayouts/slideLayout2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0.png"/><Relationship Id="rId3" Type="http://schemas.microsoft.com/office/2007/relationships/hdphoto" Target="../media/hdphoto35.wdp"/><Relationship Id="rId7" Type="http://schemas.openxmlformats.org/officeDocument/2006/relationships/image" Target="../media/image249.png"/><Relationship Id="rId12" Type="http://schemas.openxmlformats.org/officeDocument/2006/relationships/image" Target="../media/image254.png"/><Relationship Id="rId2" Type="http://schemas.openxmlformats.org/officeDocument/2006/relationships/image" Target="../media/image246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48.png"/><Relationship Id="rId11" Type="http://schemas.openxmlformats.org/officeDocument/2006/relationships/image" Target="../media/image253.png"/><Relationship Id="rId5" Type="http://schemas.microsoft.com/office/2007/relationships/hdphoto" Target="../media/hdphoto36.wdp"/><Relationship Id="rId10" Type="http://schemas.openxmlformats.org/officeDocument/2006/relationships/image" Target="../media/image252.png"/><Relationship Id="rId4" Type="http://schemas.openxmlformats.org/officeDocument/2006/relationships/image" Target="../media/image247.png"/><Relationship Id="rId9" Type="http://schemas.openxmlformats.org/officeDocument/2006/relationships/image" Target="../media/image25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3" Type="http://schemas.microsoft.com/office/2007/relationships/hdphoto" Target="../media/hdphoto35.wdp"/><Relationship Id="rId7" Type="http://schemas.openxmlformats.org/officeDocument/2006/relationships/image" Target="../media/image258.png"/><Relationship Id="rId12" Type="http://schemas.openxmlformats.org/officeDocument/2006/relationships/image" Target="../media/image263.png"/><Relationship Id="rId2" Type="http://schemas.openxmlformats.org/officeDocument/2006/relationships/image" Target="../media/image246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57.png"/><Relationship Id="rId11" Type="http://schemas.openxmlformats.org/officeDocument/2006/relationships/image" Target="../media/image262.png"/><Relationship Id="rId5" Type="http://schemas.openxmlformats.org/officeDocument/2006/relationships/image" Target="../media/image256.png"/><Relationship Id="rId10" Type="http://schemas.openxmlformats.org/officeDocument/2006/relationships/image" Target="../media/image261.png"/><Relationship Id="rId4" Type="http://schemas.openxmlformats.org/officeDocument/2006/relationships/image" Target="../media/image255.png"/><Relationship Id="rId9" Type="http://schemas.openxmlformats.org/officeDocument/2006/relationships/image" Target="../media/image26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19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22.png"/><Relationship Id="rId4" Type="http://schemas.openxmlformats.org/officeDocument/2006/relationships/image" Target="../media/image221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1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1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1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08A47195-4824-4907-8AE9-D7AD4BE0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	CAREER TAL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6E7CE4-2A7C-47FD-AE9E-86763B9D31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01143" y="6151562"/>
            <a:ext cx="8219385" cy="706437"/>
          </a:xfrm>
        </p:spPr>
        <p:txBody>
          <a:bodyPr>
            <a:normAutofit fontScale="92500" lnSpcReduction="20000"/>
          </a:bodyPr>
          <a:lstStyle/>
          <a:p>
            <a:r>
              <a:rPr lang="nl-NL"/>
              <a:t>YOUR TRAITS AND SKILLS FOR CAREER</a:t>
            </a:r>
            <a:br>
              <a:rPr lang="nl-NL"/>
            </a:br>
            <a:r>
              <a:rPr lang="nl-NL"/>
              <a:t>DEVELOPMENT -  </a:t>
            </a:r>
            <a:r>
              <a:rPr lang="nl-NL">
                <a:solidFill>
                  <a:schemeClr val="accent4">
                    <a:lumMod val="75000"/>
                  </a:schemeClr>
                </a:solidFill>
              </a:rPr>
              <a:t>CLASSROOM</a:t>
            </a:r>
          </a:p>
        </p:txBody>
      </p:sp>
    </p:spTree>
    <p:extLst>
      <p:ext uri="{BB962C8B-B14F-4D97-AF65-F5344CB8AC3E}">
        <p14:creationId xmlns:p14="http://schemas.microsoft.com/office/powerpoint/2010/main" val="2338473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18157F-A8E5-40FC-96B5-FA6D44674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y future career should bring me ...</a:t>
            </a:r>
          </a:p>
        </p:txBody>
      </p:sp>
    </p:spTree>
    <p:extLst>
      <p:ext uri="{BB962C8B-B14F-4D97-AF65-F5344CB8AC3E}">
        <p14:creationId xmlns:p14="http://schemas.microsoft.com/office/powerpoint/2010/main" val="17983786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68A1A4-27C7-4139-883F-4E748584F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cap="all"/>
              <a:t>My future career should bring me ..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9C2268-C7E2-4615-87B7-D10B0CC7E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Individual activ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5F6BC6-128D-4DF1-A3BB-968563A4BF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/>
              <a:t>3 minut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74225D-D6D6-474B-9177-B95FCC14C9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/>
              <a:t>According to you, what would a successful career look like?</a:t>
            </a:r>
          </a:p>
          <a:p>
            <a:r>
              <a:rPr lang="nl-NL" sz="2000"/>
              <a:t>Indicate in the spiderweb diagram</a:t>
            </a:r>
          </a:p>
          <a:p>
            <a:r>
              <a:rPr lang="nl-NL" sz="2000" b="1"/>
              <a:t>NOTE</a:t>
            </a:r>
            <a:r>
              <a:rPr lang="nl-NL" sz="2000"/>
              <a:t>: Not all items should be rated equally importan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4861D06-E5FE-4D44-B461-FBFF4B1C0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304" y="3223414"/>
            <a:ext cx="3057525" cy="309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5156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cap="all"/>
              <a:t>My future career should bring me ...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18483BF-6A5D-44F1-9C13-3000C352FB4D}"/>
              </a:ext>
            </a:extLst>
          </p:cNvPr>
          <p:cNvCxnSpPr>
            <a:cxnSpLocks/>
          </p:cNvCxnSpPr>
          <p:nvPr/>
        </p:nvCxnSpPr>
        <p:spPr>
          <a:xfrm flipH="1">
            <a:off x="2359026" y="1074650"/>
            <a:ext cx="3736974" cy="199366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2F60552-BC20-4472-8F44-59FC508607D4}"/>
              </a:ext>
            </a:extLst>
          </p:cNvPr>
          <p:cNvCxnSpPr>
            <a:cxnSpLocks/>
          </p:cNvCxnSpPr>
          <p:nvPr/>
        </p:nvCxnSpPr>
        <p:spPr>
          <a:xfrm flipH="1">
            <a:off x="3072727" y="1516896"/>
            <a:ext cx="3023273" cy="167929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BA3EBD8-E734-4929-80DF-224DBFE00CC7}"/>
              </a:ext>
            </a:extLst>
          </p:cNvPr>
          <p:cNvCxnSpPr>
            <a:cxnSpLocks/>
          </p:cNvCxnSpPr>
          <p:nvPr/>
        </p:nvCxnSpPr>
        <p:spPr>
          <a:xfrm flipH="1">
            <a:off x="3632319" y="2005153"/>
            <a:ext cx="2476381" cy="134602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B9488A4-701A-49F8-BF11-A8A4A5C89F64}"/>
              </a:ext>
            </a:extLst>
          </p:cNvPr>
          <p:cNvCxnSpPr>
            <a:cxnSpLocks/>
          </p:cNvCxnSpPr>
          <p:nvPr/>
        </p:nvCxnSpPr>
        <p:spPr>
          <a:xfrm flipH="1">
            <a:off x="4230717" y="2472803"/>
            <a:ext cx="1865283" cy="1009242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9ADDE66-E732-437A-A16B-C78841FF9A52}"/>
              </a:ext>
            </a:extLst>
          </p:cNvPr>
          <p:cNvCxnSpPr>
            <a:cxnSpLocks/>
          </p:cNvCxnSpPr>
          <p:nvPr/>
        </p:nvCxnSpPr>
        <p:spPr>
          <a:xfrm flipH="1">
            <a:off x="4870509" y="2903705"/>
            <a:ext cx="1225491" cy="706207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04B519C-F54E-45AA-AD7E-CC5B86E91A4E}"/>
              </a:ext>
            </a:extLst>
          </p:cNvPr>
          <p:cNvCxnSpPr>
            <a:cxnSpLocks/>
          </p:cNvCxnSpPr>
          <p:nvPr/>
        </p:nvCxnSpPr>
        <p:spPr>
          <a:xfrm flipH="1" flipV="1">
            <a:off x="6104646" y="1080182"/>
            <a:ext cx="3736972" cy="2014477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5C2963-B928-4A77-A4D3-0B8B45D3CB2F}"/>
              </a:ext>
            </a:extLst>
          </p:cNvPr>
          <p:cNvCxnSpPr>
            <a:cxnSpLocks/>
          </p:cNvCxnSpPr>
          <p:nvPr/>
        </p:nvCxnSpPr>
        <p:spPr>
          <a:xfrm flipH="1" flipV="1">
            <a:off x="6082360" y="1517046"/>
            <a:ext cx="3099741" cy="1687567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0494EBD-C751-4722-A97C-40556A051A17}"/>
              </a:ext>
            </a:extLst>
          </p:cNvPr>
          <p:cNvCxnSpPr>
            <a:cxnSpLocks/>
          </p:cNvCxnSpPr>
          <p:nvPr/>
        </p:nvCxnSpPr>
        <p:spPr>
          <a:xfrm flipH="1" flipV="1">
            <a:off x="6104644" y="2013580"/>
            <a:ext cx="2441397" cy="133679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0FB1F67-DA08-4217-A831-376EA8D56D91}"/>
              </a:ext>
            </a:extLst>
          </p:cNvPr>
          <p:cNvCxnSpPr>
            <a:cxnSpLocks/>
          </p:cNvCxnSpPr>
          <p:nvPr/>
        </p:nvCxnSpPr>
        <p:spPr>
          <a:xfrm flipH="1" flipV="1">
            <a:off x="6095998" y="2477958"/>
            <a:ext cx="1834969" cy="1027225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3BBCFD3-C246-46C5-B016-9CC0AC4B59D4}"/>
              </a:ext>
            </a:extLst>
          </p:cNvPr>
          <p:cNvCxnSpPr>
            <a:cxnSpLocks/>
          </p:cNvCxnSpPr>
          <p:nvPr/>
        </p:nvCxnSpPr>
        <p:spPr>
          <a:xfrm flipH="1" flipV="1">
            <a:off x="6084163" y="2903274"/>
            <a:ext cx="1253393" cy="686334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F34D1B5-EDF7-4533-8C4D-9FF8229D5CD5}"/>
              </a:ext>
            </a:extLst>
          </p:cNvPr>
          <p:cNvCxnSpPr>
            <a:cxnSpLocks/>
          </p:cNvCxnSpPr>
          <p:nvPr/>
        </p:nvCxnSpPr>
        <p:spPr>
          <a:xfrm flipH="1" flipV="1">
            <a:off x="2372998" y="3087756"/>
            <a:ext cx="1429493" cy="32586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E401E87-0AF2-4CB9-ACD2-D46F2693BBC9}"/>
              </a:ext>
            </a:extLst>
          </p:cNvPr>
          <p:cNvCxnSpPr>
            <a:cxnSpLocks/>
          </p:cNvCxnSpPr>
          <p:nvPr/>
        </p:nvCxnSpPr>
        <p:spPr>
          <a:xfrm flipV="1">
            <a:off x="8402210" y="3087756"/>
            <a:ext cx="1416794" cy="32586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5062171-C362-496D-AD9D-053CB2D84FC8}"/>
              </a:ext>
            </a:extLst>
          </p:cNvPr>
          <p:cNvCxnSpPr>
            <a:cxnSpLocks/>
          </p:cNvCxnSpPr>
          <p:nvPr/>
        </p:nvCxnSpPr>
        <p:spPr>
          <a:xfrm>
            <a:off x="3800809" y="6346429"/>
            <a:ext cx="4587429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2A33D6E-A9AD-49F1-9F5A-3736CB5716A8}"/>
              </a:ext>
            </a:extLst>
          </p:cNvPr>
          <p:cNvCxnSpPr>
            <a:cxnSpLocks/>
          </p:cNvCxnSpPr>
          <p:nvPr/>
        </p:nvCxnSpPr>
        <p:spPr>
          <a:xfrm>
            <a:off x="3077560" y="3196186"/>
            <a:ext cx="1177875" cy="264772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DF28A53-2FE5-44D7-8FC2-E00542E0EA35}"/>
              </a:ext>
            </a:extLst>
          </p:cNvPr>
          <p:cNvCxnSpPr>
            <a:cxnSpLocks/>
          </p:cNvCxnSpPr>
          <p:nvPr/>
        </p:nvCxnSpPr>
        <p:spPr>
          <a:xfrm>
            <a:off x="3651465" y="3338610"/>
            <a:ext cx="942231" cy="211218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73D2030-798C-4A84-A2A6-389E77916B15}"/>
              </a:ext>
            </a:extLst>
          </p:cNvPr>
          <p:cNvCxnSpPr>
            <a:cxnSpLocks/>
          </p:cNvCxnSpPr>
          <p:nvPr/>
        </p:nvCxnSpPr>
        <p:spPr>
          <a:xfrm>
            <a:off x="4252243" y="3479046"/>
            <a:ext cx="712060" cy="1614984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74E2ACE-0CA4-476F-99E7-3014246BFC38}"/>
              </a:ext>
            </a:extLst>
          </p:cNvPr>
          <p:cNvCxnSpPr>
            <a:cxnSpLocks/>
          </p:cNvCxnSpPr>
          <p:nvPr/>
        </p:nvCxnSpPr>
        <p:spPr>
          <a:xfrm>
            <a:off x="4911594" y="3609912"/>
            <a:ext cx="471275" cy="99366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0511D4B-AB6F-4B90-B328-46A135F5BEAE}"/>
              </a:ext>
            </a:extLst>
          </p:cNvPr>
          <p:cNvCxnSpPr>
            <a:cxnSpLocks/>
          </p:cNvCxnSpPr>
          <p:nvPr/>
        </p:nvCxnSpPr>
        <p:spPr>
          <a:xfrm>
            <a:off x="5406345" y="4590467"/>
            <a:ext cx="1398524" cy="26085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140033D-6CC1-4D30-86EA-6D304CD72EDE}"/>
              </a:ext>
            </a:extLst>
          </p:cNvPr>
          <p:cNvCxnSpPr>
            <a:cxnSpLocks/>
          </p:cNvCxnSpPr>
          <p:nvPr/>
        </p:nvCxnSpPr>
        <p:spPr>
          <a:xfrm>
            <a:off x="4957602" y="5079009"/>
            <a:ext cx="2270097" cy="15021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EF6189E-7565-4AF9-8FFE-316A76322089}"/>
              </a:ext>
            </a:extLst>
          </p:cNvPr>
          <p:cNvCxnSpPr>
            <a:cxnSpLocks/>
          </p:cNvCxnSpPr>
          <p:nvPr/>
        </p:nvCxnSpPr>
        <p:spPr>
          <a:xfrm>
            <a:off x="4605534" y="5462671"/>
            <a:ext cx="2992772" cy="3654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94E7E36-8AA3-4BC3-B69D-70D96ACE168B}"/>
              </a:ext>
            </a:extLst>
          </p:cNvPr>
          <p:cNvCxnSpPr>
            <a:cxnSpLocks/>
          </p:cNvCxnSpPr>
          <p:nvPr/>
        </p:nvCxnSpPr>
        <p:spPr>
          <a:xfrm>
            <a:off x="4263502" y="5844250"/>
            <a:ext cx="3714468" cy="31554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4C532BC-4451-4F18-BFA9-41ADD4B6EED0}"/>
              </a:ext>
            </a:extLst>
          </p:cNvPr>
          <p:cNvCxnSpPr>
            <a:cxnSpLocks/>
          </p:cNvCxnSpPr>
          <p:nvPr/>
        </p:nvCxnSpPr>
        <p:spPr>
          <a:xfrm flipV="1">
            <a:off x="7959085" y="3228740"/>
            <a:ext cx="1210970" cy="2647064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DED27768-80E7-4316-AF06-197A0785CE68}"/>
              </a:ext>
            </a:extLst>
          </p:cNvPr>
          <p:cNvCxnSpPr>
            <a:cxnSpLocks/>
          </p:cNvCxnSpPr>
          <p:nvPr/>
        </p:nvCxnSpPr>
        <p:spPr>
          <a:xfrm flipV="1">
            <a:off x="7617925" y="3358806"/>
            <a:ext cx="944003" cy="2110334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94952E72-2C79-4BD6-81E0-2B903CB6FBF0}"/>
              </a:ext>
            </a:extLst>
          </p:cNvPr>
          <p:cNvCxnSpPr>
            <a:cxnSpLocks/>
          </p:cNvCxnSpPr>
          <p:nvPr/>
        </p:nvCxnSpPr>
        <p:spPr>
          <a:xfrm flipV="1">
            <a:off x="7218176" y="3500824"/>
            <a:ext cx="699179" cy="1594997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B25F9E8-951C-44E1-8C9F-C4B3200C057D}"/>
              </a:ext>
            </a:extLst>
          </p:cNvPr>
          <p:cNvCxnSpPr>
            <a:cxnSpLocks/>
          </p:cNvCxnSpPr>
          <p:nvPr/>
        </p:nvCxnSpPr>
        <p:spPr>
          <a:xfrm flipV="1">
            <a:off x="6848178" y="3598073"/>
            <a:ext cx="496135" cy="101847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6B6BB82-B962-41A8-896E-1930E8212FAE}"/>
              </a:ext>
            </a:extLst>
          </p:cNvPr>
          <p:cNvCxnSpPr>
            <a:cxnSpLocks/>
          </p:cNvCxnSpPr>
          <p:nvPr/>
        </p:nvCxnSpPr>
        <p:spPr>
          <a:xfrm>
            <a:off x="6096001" y="1074650"/>
            <a:ext cx="0" cy="277904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7C4ACFA-5713-4E7D-A33E-775FF51E7ACD}"/>
              </a:ext>
            </a:extLst>
          </p:cNvPr>
          <p:cNvCxnSpPr>
            <a:cxnSpLocks/>
          </p:cNvCxnSpPr>
          <p:nvPr/>
        </p:nvCxnSpPr>
        <p:spPr>
          <a:xfrm flipH="1">
            <a:off x="6096001" y="3092446"/>
            <a:ext cx="3736975" cy="76125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46D5A3-0775-477C-8186-60D31F0444B7}"/>
              </a:ext>
            </a:extLst>
          </p:cNvPr>
          <p:cNvCxnSpPr>
            <a:cxnSpLocks/>
          </p:cNvCxnSpPr>
          <p:nvPr/>
        </p:nvCxnSpPr>
        <p:spPr>
          <a:xfrm>
            <a:off x="2359026" y="3068319"/>
            <a:ext cx="3736975" cy="78537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90FB953-CF5B-4EB8-9B1C-66CC2E2BA42F}"/>
              </a:ext>
            </a:extLst>
          </p:cNvPr>
          <p:cNvCxnSpPr>
            <a:cxnSpLocks/>
          </p:cNvCxnSpPr>
          <p:nvPr/>
        </p:nvCxnSpPr>
        <p:spPr>
          <a:xfrm flipH="1" flipV="1">
            <a:off x="6096001" y="3841632"/>
            <a:ext cx="2309573" cy="250479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D70FEE-7898-433F-BA73-16C46CE2B618}"/>
              </a:ext>
            </a:extLst>
          </p:cNvPr>
          <p:cNvCxnSpPr>
            <a:cxnSpLocks/>
          </p:cNvCxnSpPr>
          <p:nvPr/>
        </p:nvCxnSpPr>
        <p:spPr>
          <a:xfrm flipV="1">
            <a:off x="3786428" y="3841632"/>
            <a:ext cx="2309573" cy="250479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>
            <a:extLst>
              <a:ext uri="{FF2B5EF4-FFF2-40B4-BE49-F238E27FC236}">
                <a16:creationId xmlns:a16="http://schemas.microsoft.com/office/drawing/2014/main" id="{D7207A31-1057-4C9D-B8C8-BE465C0F5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832" y="2669195"/>
            <a:ext cx="1929486" cy="1953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14D66AFD-8637-4E54-BAB6-5F5E8487FDD0}"/>
              </a:ext>
            </a:extLst>
          </p:cNvPr>
          <p:cNvSpPr txBox="1"/>
          <p:nvPr/>
        </p:nvSpPr>
        <p:spPr>
          <a:xfrm>
            <a:off x="5322701" y="592774"/>
            <a:ext cx="1603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nl-NL" sz="2400" b="1">
                <a:latin typeface="Ink Free" panose="03080402000500000000" pitchFamily="66" charset="0"/>
              </a:rPr>
              <a:t>Other...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0DEDB20-2E2E-4283-8731-1AB0E407854B}"/>
              </a:ext>
            </a:extLst>
          </p:cNvPr>
          <p:cNvSpPr txBox="1"/>
          <p:nvPr/>
        </p:nvSpPr>
        <p:spPr>
          <a:xfrm>
            <a:off x="9861094" y="2795465"/>
            <a:ext cx="1603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nl-NL" sz="2400" b="1">
                <a:latin typeface="Ink Free" panose="03080402000500000000" pitchFamily="66" charset="0"/>
              </a:rPr>
              <a:t>Happines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2C02DF34-16EF-40B2-81A7-5D3D2BAD0A32}"/>
              </a:ext>
            </a:extLst>
          </p:cNvPr>
          <p:cNvSpPr txBox="1"/>
          <p:nvPr/>
        </p:nvSpPr>
        <p:spPr>
          <a:xfrm>
            <a:off x="1716028" y="6233054"/>
            <a:ext cx="2227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nl-NL" sz="2400" b="1">
                <a:latin typeface="Ink Free" panose="03080402000500000000" pitchFamily="66" charset="0"/>
              </a:rPr>
              <a:t>Good money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84CBDF8-908C-45F1-8487-67FAE14D5AAA}"/>
              </a:ext>
            </a:extLst>
          </p:cNvPr>
          <p:cNvSpPr txBox="1"/>
          <p:nvPr/>
        </p:nvSpPr>
        <p:spPr>
          <a:xfrm>
            <a:off x="8120418" y="5939357"/>
            <a:ext cx="1949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nl-NL" sz="2400" b="1">
                <a:latin typeface="Ink Free" panose="03080402000500000000" pitchFamily="66" charset="0"/>
              </a:rPr>
              <a:t>Great</a:t>
            </a:r>
            <a:br>
              <a:rPr lang="nl-NL" sz="2400" b="1">
                <a:latin typeface="Ink Free" panose="03080402000500000000" pitchFamily="66" charset="0"/>
              </a:rPr>
            </a:br>
            <a:r>
              <a:rPr lang="nl-NL" sz="2400" b="1">
                <a:latin typeface="Ink Free" panose="03080402000500000000" pitchFamily="66" charset="0"/>
              </a:rPr>
              <a:t>job conten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498886EA-4825-42D5-8718-404A040DB0B3}"/>
              </a:ext>
            </a:extLst>
          </p:cNvPr>
          <p:cNvSpPr txBox="1"/>
          <p:nvPr/>
        </p:nvSpPr>
        <p:spPr>
          <a:xfrm>
            <a:off x="483298" y="2734145"/>
            <a:ext cx="19660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nl-NL" sz="2400" b="1">
                <a:latin typeface="Ink Free" panose="03080402000500000000" pitchFamily="66" charset="0"/>
              </a:rPr>
              <a:t>Growth opportunitie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9E8C06F-1E3C-4270-A930-CCDC36C899D8}"/>
              </a:ext>
            </a:extLst>
          </p:cNvPr>
          <p:cNvSpPr txBox="1"/>
          <p:nvPr/>
        </p:nvSpPr>
        <p:spPr>
          <a:xfrm>
            <a:off x="5994643" y="2749454"/>
            <a:ext cx="481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</a:pPr>
            <a:r>
              <a:rPr lang="nl-NL" b="1">
                <a:latin typeface="Ink Free" panose="03080402000500000000" pitchFamily="66" charset="0"/>
              </a:rPr>
              <a:t>2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4E392771-D880-4093-B076-7B2E39536688}"/>
              </a:ext>
            </a:extLst>
          </p:cNvPr>
          <p:cNvSpPr txBox="1"/>
          <p:nvPr/>
        </p:nvSpPr>
        <p:spPr>
          <a:xfrm>
            <a:off x="5962496" y="2320016"/>
            <a:ext cx="481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</a:pPr>
            <a:r>
              <a:rPr lang="nl-NL" b="1">
                <a:latin typeface="Ink Free" panose="03080402000500000000" pitchFamily="66" charset="0"/>
              </a:rPr>
              <a:t>4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8BBAE17-69F5-428D-A5FC-4CDFBEC9FC9F}"/>
              </a:ext>
            </a:extLst>
          </p:cNvPr>
          <p:cNvSpPr txBox="1"/>
          <p:nvPr/>
        </p:nvSpPr>
        <p:spPr>
          <a:xfrm>
            <a:off x="5971432" y="1848539"/>
            <a:ext cx="481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</a:pPr>
            <a:r>
              <a:rPr lang="nl-NL" b="1">
                <a:latin typeface="Ink Free" panose="03080402000500000000" pitchFamily="66" charset="0"/>
              </a:rPr>
              <a:t>6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57AB3970-57B4-417A-8ECA-3738B859E55F}"/>
              </a:ext>
            </a:extLst>
          </p:cNvPr>
          <p:cNvSpPr txBox="1"/>
          <p:nvPr/>
        </p:nvSpPr>
        <p:spPr>
          <a:xfrm>
            <a:off x="5962495" y="1361351"/>
            <a:ext cx="481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</a:pPr>
            <a:r>
              <a:rPr lang="nl-NL" b="1">
                <a:latin typeface="Ink Free" panose="03080402000500000000" pitchFamily="66" charset="0"/>
              </a:rPr>
              <a:t>8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86A504C-F07A-458E-B29F-4382426F7F60}"/>
              </a:ext>
            </a:extLst>
          </p:cNvPr>
          <p:cNvSpPr txBox="1"/>
          <p:nvPr/>
        </p:nvSpPr>
        <p:spPr>
          <a:xfrm>
            <a:off x="5976171" y="933091"/>
            <a:ext cx="481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</a:pPr>
            <a:r>
              <a:rPr lang="nl-NL" b="1">
                <a:latin typeface="Ink Free" panose="03080402000500000000" pitchFamily="66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195309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94BAAD-BF3F-48A4-B3DF-AB4126E03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YOUR CAREER</a:t>
            </a:r>
          </a:p>
        </p:txBody>
      </p:sp>
    </p:spTree>
    <p:extLst>
      <p:ext uri="{BB962C8B-B14F-4D97-AF65-F5344CB8AC3E}">
        <p14:creationId xmlns:p14="http://schemas.microsoft.com/office/powerpoint/2010/main" val="10727755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627CEC-EB08-0178-90BB-5F4C1A2A7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OMFORT BREAK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69208A1-27B7-E047-DC7C-E6FD3FC80E78}"/>
              </a:ext>
            </a:extLst>
          </p:cNvPr>
          <p:cNvSpPr/>
          <p:nvPr/>
        </p:nvSpPr>
        <p:spPr>
          <a:xfrm>
            <a:off x="6096000" y="1655884"/>
            <a:ext cx="4648103" cy="270538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8686DF0-AF92-8FD1-8461-54182E29CD22}"/>
              </a:ext>
            </a:extLst>
          </p:cNvPr>
          <p:cNvSpPr txBox="1">
            <a:spLocks/>
          </p:cNvSpPr>
          <p:nvPr/>
        </p:nvSpPr>
        <p:spPr>
          <a:xfrm>
            <a:off x="6214713" y="1911817"/>
            <a:ext cx="4529390" cy="2193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Let’s take a short comfort break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15 minutes </a:t>
            </a:r>
            <a:r>
              <a:rPr lang="nl-NL" sz="3600">
                <a:latin typeface="Ink Free" panose="03080402000500000000" pitchFamily="66" charset="0"/>
              </a:rPr>
              <a:t>and then we will resume</a:t>
            </a:r>
          </a:p>
        </p:txBody>
      </p:sp>
    </p:spTree>
    <p:extLst>
      <p:ext uri="{BB962C8B-B14F-4D97-AF65-F5344CB8AC3E}">
        <p14:creationId xmlns:p14="http://schemas.microsoft.com/office/powerpoint/2010/main" val="1138183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2C7162-F817-4E94-BB11-5674D6E21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AREER &amp; CAREER DEVELOPMEN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707BFA8-1F51-4509-A438-430E729C89F9}"/>
              </a:ext>
            </a:extLst>
          </p:cNvPr>
          <p:cNvSpPr/>
          <p:nvPr/>
        </p:nvSpPr>
        <p:spPr>
          <a:xfrm>
            <a:off x="6096000" y="982250"/>
            <a:ext cx="5624947" cy="2600326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BE44B19-5E42-4632-8FE3-E30BAF231CF8}"/>
              </a:ext>
            </a:extLst>
          </p:cNvPr>
          <p:cNvSpPr txBox="1">
            <a:spLocks/>
          </p:cNvSpPr>
          <p:nvPr/>
        </p:nvSpPr>
        <p:spPr>
          <a:xfrm>
            <a:off x="6214713" y="1184206"/>
            <a:ext cx="5387519" cy="21964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What would be some of the requirements that can help your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career </a:t>
            </a:r>
            <a:r>
              <a:rPr lang="nl-NL" sz="3600">
                <a:latin typeface="Ink Free" panose="03080402000500000000" pitchFamily="66" charset="0"/>
              </a:rPr>
              <a:t>and your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career development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24986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193B33-FB74-4F6F-B81E-C7E1B9B2B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AREER DEVELOPMENT: TOP TIP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10C7799-15C3-45A7-8D3A-0D155F99E824}"/>
              </a:ext>
            </a:extLst>
          </p:cNvPr>
          <p:cNvSpPr txBox="1">
            <a:spLocks/>
          </p:cNvSpPr>
          <p:nvPr/>
        </p:nvSpPr>
        <p:spPr>
          <a:xfrm>
            <a:off x="1073316" y="2284179"/>
            <a:ext cx="7308684" cy="37159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Identify your talents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Embrace your strengths and weaknesses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Turn around- your ‘Yeah ... but’ thoughts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Identify development needs for skills and personality 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Map out your career development plan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Own your career development</a:t>
            </a:r>
          </a:p>
          <a:p>
            <a:pPr marL="457200" indent="-457200">
              <a:buFont typeface="+mj-lt"/>
              <a:buAutoNum type="arabicPeriod"/>
            </a:pPr>
            <a:r>
              <a:rPr lang="nl-NL" b="1">
                <a:latin typeface="Ink Free" panose="03080402000500000000" pitchFamily="66" charset="0"/>
              </a:rPr>
              <a:t>Remain open to change</a:t>
            </a:r>
          </a:p>
        </p:txBody>
      </p:sp>
    </p:spTree>
    <p:extLst>
      <p:ext uri="{BB962C8B-B14F-4D97-AF65-F5344CB8AC3E}">
        <p14:creationId xmlns:p14="http://schemas.microsoft.com/office/powerpoint/2010/main" val="1135528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3CAA9-8755-6A64-72B3-59AF298CE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3" y="62654"/>
            <a:ext cx="11209317" cy="706438"/>
          </a:xfrm>
        </p:spPr>
        <p:txBody>
          <a:bodyPr>
            <a:normAutofit/>
          </a:bodyPr>
          <a:lstStyle/>
          <a:p>
            <a:r>
              <a:rPr lang="nl-NL"/>
              <a:t>FOR YOUR INSPIRATION - INDUSTRIES TO PURSUE A CAREER </a:t>
            </a:r>
          </a:p>
        </p:txBody>
      </p:sp>
      <p:pic>
        <p:nvPicPr>
          <p:cNvPr id="4" name="Picture Placeholder 34" descr="A picture containing sky, smoke, fighter&#10;&#10;Description automatically generated">
            <a:extLst>
              <a:ext uri="{FF2B5EF4-FFF2-40B4-BE49-F238E27FC236}">
                <a16:creationId xmlns:a16="http://schemas.microsoft.com/office/drawing/2014/main" id="{6031737D-CFEB-8035-6691-7009B12B4D7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4" t="1253" r="21716" b="611"/>
          <a:stretch/>
        </p:blipFill>
        <p:spPr>
          <a:xfrm>
            <a:off x="171234" y="1002748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Placeholder 9" descr="A picture containing indoor&#10;&#10;Description automatically generated">
            <a:extLst>
              <a:ext uri="{FF2B5EF4-FFF2-40B4-BE49-F238E27FC236}">
                <a16:creationId xmlns:a16="http://schemas.microsoft.com/office/drawing/2014/main" id="{E6381278-D228-6E5A-B4A1-DD0711DFC7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9" r="30057" b="16109"/>
          <a:stretch/>
        </p:blipFill>
        <p:spPr>
          <a:xfrm>
            <a:off x="2614786" y="1002748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Placeholder 5" descr="A tractor in a field&#10;&#10;Description automatically generated with medium confidence">
            <a:extLst>
              <a:ext uri="{FF2B5EF4-FFF2-40B4-BE49-F238E27FC236}">
                <a16:creationId xmlns:a16="http://schemas.microsoft.com/office/drawing/2014/main" id="{2F485C25-B579-9392-3B22-C58812B6C4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4" t="18381" r="27677" b="1822"/>
          <a:stretch/>
        </p:blipFill>
        <p:spPr>
          <a:xfrm>
            <a:off x="5058338" y="1002748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Placeholder 10" descr="A person working on a machine&#10;&#10;Description automatically generated with low confidence">
            <a:extLst>
              <a:ext uri="{FF2B5EF4-FFF2-40B4-BE49-F238E27FC236}">
                <a16:creationId xmlns:a16="http://schemas.microsoft.com/office/drawing/2014/main" id="{7473E8EE-6B8C-FECF-A62A-114C0CBA67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2" r="16652"/>
          <a:stretch>
            <a:fillRect/>
          </a:stretch>
        </p:blipFill>
        <p:spPr>
          <a:xfrm>
            <a:off x="7501890" y="1002748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Placeholder 16" descr="Two people in a kitchen&#10;&#10;Description automatically generated with low confidence">
            <a:extLst>
              <a:ext uri="{FF2B5EF4-FFF2-40B4-BE49-F238E27FC236}">
                <a16:creationId xmlns:a16="http://schemas.microsoft.com/office/drawing/2014/main" id="{83EA744C-42C5-7234-BDC1-E905F9C7B0A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86" r="4064"/>
          <a:stretch/>
        </p:blipFill>
        <p:spPr>
          <a:xfrm>
            <a:off x="9897891" y="1002748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Placeholder 20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461016E5-AC2F-71C2-CF08-8CAA0FBEBB2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3" t="905" r="31829" b="984"/>
          <a:stretch/>
        </p:blipFill>
        <p:spPr>
          <a:xfrm>
            <a:off x="1363640" y="3935590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Placeholder 24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CB9F40F0-5A17-221C-57F2-922D2906159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01" r="22749" b="6449"/>
          <a:stretch/>
        </p:blipFill>
        <p:spPr>
          <a:xfrm>
            <a:off x="3821163" y="3935590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Placeholder 28" descr="A low angle view of a building&#10;&#10;Description automatically generated with medium confidence">
            <a:extLst>
              <a:ext uri="{FF2B5EF4-FFF2-40B4-BE49-F238E27FC236}">
                <a16:creationId xmlns:a16="http://schemas.microsoft.com/office/drawing/2014/main" id="{4897DE91-4421-12B8-3349-B82BB960760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9" r="25851"/>
          <a:stretch/>
        </p:blipFill>
        <p:spPr>
          <a:xfrm>
            <a:off x="6239874" y="3935590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Placeholder 32" descr="A picture containing person, indoor, window&#10;&#10;Description automatically generated">
            <a:extLst>
              <a:ext uri="{FF2B5EF4-FFF2-40B4-BE49-F238E27FC236}">
                <a16:creationId xmlns:a16="http://schemas.microsoft.com/office/drawing/2014/main" id="{160EB894-DAC9-7DFB-81D9-2085DDCEA6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0" r="21900"/>
          <a:stretch>
            <a:fillRect/>
          </a:stretch>
        </p:blipFill>
        <p:spPr>
          <a:xfrm>
            <a:off x="8697397" y="3935590"/>
            <a:ext cx="2160000" cy="21600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9B6D880-889E-BDDB-79F1-77EB8DE2E8EB}"/>
              </a:ext>
            </a:extLst>
          </p:cNvPr>
          <p:cNvSpPr txBox="1"/>
          <p:nvPr/>
        </p:nvSpPr>
        <p:spPr>
          <a:xfrm>
            <a:off x="582621" y="3122546"/>
            <a:ext cx="13372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Logistic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F43D761-DF83-B10D-3341-6FD49883C596}"/>
              </a:ext>
            </a:extLst>
          </p:cNvPr>
          <p:cNvSpPr txBox="1"/>
          <p:nvPr/>
        </p:nvSpPr>
        <p:spPr>
          <a:xfrm>
            <a:off x="2519610" y="3122546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Pharmaceutic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5BCDBF6-CF9F-3717-473F-6D71848EF594}"/>
              </a:ext>
            </a:extLst>
          </p:cNvPr>
          <p:cNvSpPr txBox="1"/>
          <p:nvPr/>
        </p:nvSpPr>
        <p:spPr>
          <a:xfrm>
            <a:off x="5010750" y="3122545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Agricultu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03064E-6EE7-94DB-CD91-DC6AC1AE563A}"/>
              </a:ext>
            </a:extLst>
          </p:cNvPr>
          <p:cNvSpPr txBox="1"/>
          <p:nvPr/>
        </p:nvSpPr>
        <p:spPr>
          <a:xfrm>
            <a:off x="7359126" y="3122546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Manufactur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13DBDD-CA0E-C0A3-D8DD-5A4486462789}"/>
              </a:ext>
            </a:extLst>
          </p:cNvPr>
          <p:cNvSpPr txBox="1"/>
          <p:nvPr/>
        </p:nvSpPr>
        <p:spPr>
          <a:xfrm>
            <a:off x="9897891" y="3122545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Hospita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499E11-8DA0-7847-9256-6B86945DCDBA}"/>
              </a:ext>
            </a:extLst>
          </p:cNvPr>
          <p:cNvSpPr txBox="1"/>
          <p:nvPr/>
        </p:nvSpPr>
        <p:spPr>
          <a:xfrm>
            <a:off x="1234402" y="6104518"/>
            <a:ext cx="2393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Technology &amp; 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F39C92-49A7-01AF-AE05-DE99C082A947}"/>
              </a:ext>
            </a:extLst>
          </p:cNvPr>
          <p:cNvSpPr txBox="1"/>
          <p:nvPr/>
        </p:nvSpPr>
        <p:spPr>
          <a:xfrm>
            <a:off x="3699578" y="6104518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Edu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CDDB09-4C7C-7F76-2ECA-11E715A8017B}"/>
              </a:ext>
            </a:extLst>
          </p:cNvPr>
          <p:cNvSpPr txBox="1"/>
          <p:nvPr/>
        </p:nvSpPr>
        <p:spPr>
          <a:xfrm>
            <a:off x="6190718" y="6104517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Financ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F5C102B-8896-5612-9E6B-661393586B48}"/>
              </a:ext>
            </a:extLst>
          </p:cNvPr>
          <p:cNvSpPr txBox="1"/>
          <p:nvPr/>
        </p:nvSpPr>
        <p:spPr>
          <a:xfrm>
            <a:off x="8539094" y="6104518"/>
            <a:ext cx="2370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>
                <a:latin typeface="Ink Free" panose="03080402000500000000" pitchFamily="66" charset="0"/>
              </a:rPr>
              <a:t>Healthcare</a:t>
            </a:r>
          </a:p>
        </p:txBody>
      </p:sp>
    </p:spTree>
    <p:extLst>
      <p:ext uri="{BB962C8B-B14F-4D97-AF65-F5344CB8AC3E}">
        <p14:creationId xmlns:p14="http://schemas.microsoft.com/office/powerpoint/2010/main" val="21022711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34" y="62654"/>
            <a:ext cx="9285266" cy="706438"/>
          </a:xfrm>
        </p:spPr>
        <p:txBody>
          <a:bodyPr>
            <a:normAutofit/>
          </a:bodyPr>
          <a:lstStyle/>
          <a:p>
            <a:r>
              <a:rPr lang="nl-NL"/>
              <a:t>PERSONALITY TRAITS &amp; TRANSFERABLE SKILL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71C1D1-5469-476D-8378-66EC5E96F0F9}"/>
              </a:ext>
            </a:extLst>
          </p:cNvPr>
          <p:cNvGrpSpPr/>
          <p:nvPr/>
        </p:nvGrpSpPr>
        <p:grpSpPr>
          <a:xfrm>
            <a:off x="1159578" y="1874981"/>
            <a:ext cx="4248313" cy="4523142"/>
            <a:chOff x="1159578" y="1874981"/>
            <a:chExt cx="4248313" cy="452314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F144124-F964-4444-A0D9-5FFF53036E6B}"/>
                </a:ext>
              </a:extLst>
            </p:cNvPr>
            <p:cNvSpPr/>
            <p:nvPr/>
          </p:nvSpPr>
          <p:spPr>
            <a:xfrm>
              <a:off x="1159578" y="1874981"/>
              <a:ext cx="4248313" cy="4523142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" name="Text Placeholder 7">
              <a:extLst>
                <a:ext uri="{FF2B5EF4-FFF2-40B4-BE49-F238E27FC236}">
                  <a16:creationId xmlns:a16="http://schemas.microsoft.com/office/drawing/2014/main" id="{7907D7F3-ADC0-476D-9191-FC698776F353}"/>
                </a:ext>
              </a:extLst>
            </p:cNvPr>
            <p:cNvSpPr txBox="1">
              <a:spLocks/>
            </p:cNvSpPr>
            <p:nvPr/>
          </p:nvSpPr>
          <p:spPr>
            <a:xfrm>
              <a:off x="1159578" y="3783333"/>
              <a:ext cx="4248313" cy="70643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3200" b="1">
                  <a:latin typeface="Ink Free" panose="03080402000500000000" pitchFamily="66" charset="0"/>
                </a:rPr>
                <a:t>Personality traits </a:t>
              </a:r>
              <a:r>
                <a:rPr lang="en-US" sz="3200">
                  <a:latin typeface="Ink Free" panose="03080402000500000000" pitchFamily="66" charset="0"/>
                </a:rPr>
                <a:t>relate to your character as a person: </a:t>
              </a:r>
              <a:r>
                <a:rPr lang="en-US" sz="3200" b="1">
                  <a:solidFill>
                    <a:srgbClr val="00AEEF"/>
                  </a:solidFill>
                  <a:latin typeface="Ink Free" panose="03080402000500000000" pitchFamily="66" charset="0"/>
                </a:rPr>
                <a:t>how you are, and the attitude related to it.</a:t>
              </a:r>
              <a:endParaRPr lang="nl-NL" sz="3200" b="1">
                <a:solidFill>
                  <a:srgbClr val="00AEEF"/>
                </a:solidFill>
                <a:latin typeface="Ink Free" panose="03080402000500000000" pitchFamily="66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5F67812-3B67-449E-B0E1-7D089E21F789}"/>
              </a:ext>
            </a:extLst>
          </p:cNvPr>
          <p:cNvGrpSpPr/>
          <p:nvPr/>
        </p:nvGrpSpPr>
        <p:grpSpPr>
          <a:xfrm>
            <a:off x="6435884" y="1874981"/>
            <a:ext cx="4306007" cy="4523142"/>
            <a:chOff x="6435884" y="1874981"/>
            <a:chExt cx="4306007" cy="452314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2A6B72A6-F7BA-4C21-97C0-839B317DD664}"/>
                </a:ext>
              </a:extLst>
            </p:cNvPr>
            <p:cNvSpPr/>
            <p:nvPr/>
          </p:nvSpPr>
          <p:spPr>
            <a:xfrm>
              <a:off x="6493578" y="1874981"/>
              <a:ext cx="4248313" cy="4523142"/>
            </a:xfrm>
            <a:prstGeom prst="roundRect">
              <a:avLst>
                <a:gd name="adj" fmla="val 4862"/>
              </a:avLst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Text Placeholder 7">
              <a:extLst>
                <a:ext uri="{FF2B5EF4-FFF2-40B4-BE49-F238E27FC236}">
                  <a16:creationId xmlns:a16="http://schemas.microsoft.com/office/drawing/2014/main" id="{64B0967B-D574-445A-89C7-B8DD951B1EDF}"/>
                </a:ext>
              </a:extLst>
            </p:cNvPr>
            <p:cNvSpPr txBox="1">
              <a:spLocks/>
            </p:cNvSpPr>
            <p:nvPr/>
          </p:nvSpPr>
          <p:spPr>
            <a:xfrm>
              <a:off x="6435884" y="3783333"/>
              <a:ext cx="4248312" cy="70643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3200" b="1">
                  <a:latin typeface="Ink Free" panose="03080402000500000000" pitchFamily="66" charset="0"/>
                </a:rPr>
                <a:t>Transferable skills </a:t>
              </a:r>
              <a:r>
                <a:rPr lang="en-US" sz="3200" b="1">
                  <a:solidFill>
                    <a:srgbClr val="00AEEF"/>
                  </a:solidFill>
                  <a:latin typeface="Ink Free" panose="03080402000500000000" pitchFamily="66" charset="0"/>
                </a:rPr>
                <a:t>are learnt abilities that can help you at work or in life</a:t>
              </a:r>
              <a:r>
                <a:rPr lang="en-US" sz="3200">
                  <a:latin typeface="Ink Free" panose="03080402000500000000" pitchFamily="66" charset="0"/>
                </a:rPr>
                <a:t>, so in a variety of situations.</a:t>
              </a:r>
              <a:endParaRPr lang="nl-NL" sz="3200" b="1">
                <a:solidFill>
                  <a:srgbClr val="00AEEF"/>
                </a:solidFill>
                <a:latin typeface="Ink Free" panose="03080402000500000000" pitchFamily="66" charset="0"/>
              </a:endParaRPr>
            </a:p>
          </p:txBody>
        </p:sp>
      </p:grp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700FAC-7C58-4C16-80F1-1A45FDF0411D}"/>
              </a:ext>
            </a:extLst>
          </p:cNvPr>
          <p:cNvSpPr txBox="1">
            <a:spLocks/>
          </p:cNvSpPr>
          <p:nvPr/>
        </p:nvSpPr>
        <p:spPr>
          <a:xfrm>
            <a:off x="163533" y="638814"/>
            <a:ext cx="8304191" cy="818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b="1">
                <a:latin typeface="Ink Free" panose="03080402000500000000" pitchFamily="66" charset="0"/>
              </a:rPr>
              <a:t>Who knows what these are? Any ideas are welcome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00ED7C3-18F3-1874-E90A-47B89FA7E8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695" y="1938481"/>
            <a:ext cx="1372076" cy="170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7BB8793-79E6-103C-F3F2-A93CF8893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488" y="1963407"/>
            <a:ext cx="1654014" cy="164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387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ERSONALITY TRAITS - EXAMP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1564DF0-6137-49AE-9B9F-3597B91CF8B8}"/>
              </a:ext>
            </a:extLst>
          </p:cNvPr>
          <p:cNvSpPr txBox="1">
            <a:spLocks/>
          </p:cNvSpPr>
          <p:nvPr/>
        </p:nvSpPr>
        <p:spPr>
          <a:xfrm>
            <a:off x="1385462" y="953741"/>
            <a:ext cx="2388745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>
                <a:latin typeface="Ink Free" panose="03080402000500000000" pitchFamily="66" charset="0"/>
              </a:rPr>
              <a:t>Positive</a:t>
            </a:r>
            <a:endParaRPr lang="nl-NL" sz="40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35DCBFF-6059-4BE6-AC3B-7A7C357132C2}"/>
              </a:ext>
            </a:extLst>
          </p:cNvPr>
          <p:cNvSpPr txBox="1">
            <a:spLocks/>
          </p:cNvSpPr>
          <p:nvPr/>
        </p:nvSpPr>
        <p:spPr>
          <a:xfrm>
            <a:off x="5687058" y="1543376"/>
            <a:ext cx="2388745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>
                <a:latin typeface="Ink Free" panose="03080402000500000000" pitchFamily="66" charset="0"/>
              </a:rPr>
              <a:t>Negative</a:t>
            </a:r>
            <a:endParaRPr lang="nl-NL" sz="40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  <p:pic>
        <p:nvPicPr>
          <p:cNvPr id="6152" name="Picture 8">
            <a:extLst>
              <a:ext uri="{FF2B5EF4-FFF2-40B4-BE49-F238E27FC236}">
                <a16:creationId xmlns:a16="http://schemas.microsoft.com/office/drawing/2014/main" id="{F91A0875-4FC1-445F-ABBC-5E9B65B49E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75" y="1689536"/>
            <a:ext cx="1847061" cy="187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66C0AA55-6886-404C-9DA3-3539B80FB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094" y="1602810"/>
            <a:ext cx="1847061" cy="187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A95E4F65-CEF6-4BC4-A815-86A44B77B6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87" y="2402639"/>
            <a:ext cx="1847061" cy="187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5E23C6FD-2400-4651-8A32-53F8A8448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646" y="2681873"/>
            <a:ext cx="1847061" cy="187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>
            <a:extLst>
              <a:ext uri="{FF2B5EF4-FFF2-40B4-BE49-F238E27FC236}">
                <a16:creationId xmlns:a16="http://schemas.microsoft.com/office/drawing/2014/main" id="{32C9E5D4-A00F-4E31-98DA-C810ED337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97" y="4121692"/>
            <a:ext cx="1847061" cy="187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>
            <a:extLst>
              <a:ext uri="{FF2B5EF4-FFF2-40B4-BE49-F238E27FC236}">
                <a16:creationId xmlns:a16="http://schemas.microsoft.com/office/drawing/2014/main" id="{56EA5DF7-7CFC-43D2-B392-699EA454C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709" y="2124618"/>
            <a:ext cx="1847061" cy="17826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>
            <a:extLst>
              <a:ext uri="{FF2B5EF4-FFF2-40B4-BE49-F238E27FC236}">
                <a16:creationId xmlns:a16="http://schemas.microsoft.com/office/drawing/2014/main" id="{4682A373-129B-4738-81AC-7F989B053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403" y="2775255"/>
            <a:ext cx="1847061" cy="17826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">
            <a:extLst>
              <a:ext uri="{FF2B5EF4-FFF2-40B4-BE49-F238E27FC236}">
                <a16:creationId xmlns:a16="http://schemas.microsoft.com/office/drawing/2014/main" id="{D8C214C6-827B-4D3B-A92D-21B9FE30E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901" y="4705694"/>
            <a:ext cx="1847061" cy="17826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>
            <a:extLst>
              <a:ext uri="{FF2B5EF4-FFF2-40B4-BE49-F238E27FC236}">
                <a16:creationId xmlns:a16="http://schemas.microsoft.com/office/drawing/2014/main" id="{EB08020C-7C79-4545-A472-780028BF5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355" y="3480356"/>
            <a:ext cx="1847061" cy="17826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>
            <a:extLst>
              <a:ext uri="{FF2B5EF4-FFF2-40B4-BE49-F238E27FC236}">
                <a16:creationId xmlns:a16="http://schemas.microsoft.com/office/drawing/2014/main" id="{3DFF213D-26F4-4B48-8289-04F0E2C53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525" y="4465052"/>
            <a:ext cx="1847061" cy="17826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3FDBEF4-73B3-4508-ACA3-03616240A33F}"/>
              </a:ext>
            </a:extLst>
          </p:cNvPr>
          <p:cNvSpPr txBox="1">
            <a:spLocks/>
          </p:cNvSpPr>
          <p:nvPr/>
        </p:nvSpPr>
        <p:spPr>
          <a:xfrm>
            <a:off x="191793" y="2154008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Helpful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3E817C6-4EB0-47C2-9B3A-CBBC482A0651}"/>
              </a:ext>
            </a:extLst>
          </p:cNvPr>
          <p:cNvSpPr txBox="1">
            <a:spLocks/>
          </p:cNvSpPr>
          <p:nvPr/>
        </p:nvSpPr>
        <p:spPr>
          <a:xfrm>
            <a:off x="1017662" y="3075781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Honest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064D980-47B1-4908-91F7-E3248663BC9D}"/>
              </a:ext>
            </a:extLst>
          </p:cNvPr>
          <p:cNvSpPr txBox="1">
            <a:spLocks/>
          </p:cNvSpPr>
          <p:nvPr/>
        </p:nvSpPr>
        <p:spPr>
          <a:xfrm rot="21106216">
            <a:off x="2572270" y="2195551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Optimistic</a:t>
            </a:r>
            <a:endParaRPr lang="nl-NL" sz="2400" b="1">
              <a:latin typeface="Ink Free" panose="03080402000500000000" pitchFamily="66" charset="0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3B79E468-07E7-4D4B-B14E-CE647A1DCD83}"/>
              </a:ext>
            </a:extLst>
          </p:cNvPr>
          <p:cNvSpPr txBox="1">
            <a:spLocks/>
          </p:cNvSpPr>
          <p:nvPr/>
        </p:nvSpPr>
        <p:spPr>
          <a:xfrm>
            <a:off x="3075022" y="3396241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Friendly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BCDC70DF-21AA-40F4-872D-2BDD58E8CE56}"/>
              </a:ext>
            </a:extLst>
          </p:cNvPr>
          <p:cNvSpPr txBox="1">
            <a:spLocks/>
          </p:cNvSpPr>
          <p:nvPr/>
        </p:nvSpPr>
        <p:spPr>
          <a:xfrm>
            <a:off x="853515" y="4834795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Responsible</a:t>
            </a:r>
            <a:endParaRPr lang="nl-NL" sz="2400" b="1">
              <a:latin typeface="Ink Free" panose="03080402000500000000" pitchFamily="66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7A33A94-624E-4479-96F0-548E3B0C0B9F}"/>
              </a:ext>
            </a:extLst>
          </p:cNvPr>
          <p:cNvSpPr txBox="1">
            <a:spLocks/>
          </p:cNvSpPr>
          <p:nvPr/>
        </p:nvSpPr>
        <p:spPr>
          <a:xfrm>
            <a:off x="6327349" y="3401062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b="1">
                <a:latin typeface="Ink Free" panose="03080402000500000000" pitchFamily="66" charset="0"/>
              </a:rPr>
              <a:t>Lazy</a:t>
            </a:r>
            <a:endParaRPr lang="nl-NL" sz="3200" b="1">
              <a:latin typeface="Ink Free" panose="03080402000500000000" pitchFamily="66" charset="0"/>
            </a:endParaRP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39F983D-9982-40B0-889A-007001F500BF}"/>
              </a:ext>
            </a:extLst>
          </p:cNvPr>
          <p:cNvSpPr txBox="1">
            <a:spLocks/>
          </p:cNvSpPr>
          <p:nvPr/>
        </p:nvSpPr>
        <p:spPr>
          <a:xfrm>
            <a:off x="8335798" y="2631111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Arrogant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1E9AE7D0-1EEF-4582-93E9-854FAD26D0A8}"/>
              </a:ext>
            </a:extLst>
          </p:cNvPr>
          <p:cNvSpPr txBox="1">
            <a:spLocks/>
          </p:cNvSpPr>
          <p:nvPr/>
        </p:nvSpPr>
        <p:spPr>
          <a:xfrm>
            <a:off x="7711588" y="5089582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Impatient</a:t>
            </a:r>
            <a:endParaRPr lang="nl-NL" sz="2400" b="1">
              <a:latin typeface="Ink Free" panose="03080402000500000000" pitchFamily="66" charset="0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CD265696-CA09-42D8-9B87-1BEC30344E0B}"/>
              </a:ext>
            </a:extLst>
          </p:cNvPr>
          <p:cNvSpPr txBox="1">
            <a:spLocks/>
          </p:cNvSpPr>
          <p:nvPr/>
        </p:nvSpPr>
        <p:spPr>
          <a:xfrm>
            <a:off x="8977474" y="3944795"/>
            <a:ext cx="1573199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Disrespectful</a:t>
            </a:r>
            <a:endParaRPr lang="nl-NL" sz="2400" b="1">
              <a:latin typeface="Ink Free" panose="03080402000500000000" pitchFamily="66" charset="0"/>
            </a:endParaRP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D2E0ECB7-960F-48B8-A6F2-B70390137C75}"/>
              </a:ext>
            </a:extLst>
          </p:cNvPr>
          <p:cNvSpPr txBox="1">
            <a:spLocks/>
          </p:cNvSpPr>
          <p:nvPr/>
        </p:nvSpPr>
        <p:spPr>
          <a:xfrm>
            <a:off x="5911853" y="5364007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b="1">
                <a:latin typeface="Ink Free" panose="03080402000500000000" pitchFamily="66" charset="0"/>
              </a:rPr>
              <a:t>Reckless</a:t>
            </a:r>
            <a:endParaRPr lang="nl-NL" sz="3200" b="1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127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05191-D401-4B1F-A0FD-9DA8DF3EA3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400"/>
              <a:t>Explain in a broader context, the key requirements and elements for successful career develo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6CC01A-D8F6-4AE1-A79C-B9423066D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167" y="4168934"/>
            <a:ext cx="8003183" cy="914400"/>
          </a:xfrm>
        </p:spPr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Reflect on future career opportunities and the areas that require focus for building a career in a specific direction</a:t>
            </a:r>
            <a:endParaRPr lang="nl-NL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0A048D-D80F-4F76-9FB5-FE1C09E5CE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2167" y="2919317"/>
            <a:ext cx="8003183" cy="914400"/>
          </a:xfrm>
        </p:spPr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400"/>
              <a:t>Explain the difference between Personality Traits and Transferable </a:t>
            </a:r>
            <a:r>
              <a:rPr lang="nl-NL"/>
              <a:t>S</a:t>
            </a:r>
            <a:r>
              <a:rPr lang="nl-NL" sz="2400"/>
              <a:t>kills and how these are important for specific job roles and career developmen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A76B5CC-DC49-478B-863A-771D8690CC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169" y="5366068"/>
            <a:ext cx="8003183" cy="914400"/>
          </a:xfrm>
        </p:spPr>
        <p:txBody>
          <a:bodyPr/>
          <a:lstStyle/>
          <a:p>
            <a:endParaRPr lang="nl-NL" sz="2400"/>
          </a:p>
        </p:txBody>
      </p:sp>
    </p:spTree>
    <p:extLst>
      <p:ext uri="{BB962C8B-B14F-4D97-AF65-F5344CB8AC3E}">
        <p14:creationId xmlns:p14="http://schemas.microsoft.com/office/powerpoint/2010/main" val="2219543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>
            <a:extLst>
              <a:ext uri="{FF2B5EF4-FFF2-40B4-BE49-F238E27FC236}">
                <a16:creationId xmlns:a16="http://schemas.microsoft.com/office/drawing/2014/main" id="{BFF19D8D-6912-4974-9712-BC08BF4EE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069" y="867276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DB957D8-A6D1-4C9D-808D-FEE6A9AA870A}"/>
              </a:ext>
            </a:extLst>
          </p:cNvPr>
          <p:cNvSpPr txBox="1">
            <a:spLocks/>
          </p:cNvSpPr>
          <p:nvPr/>
        </p:nvSpPr>
        <p:spPr>
          <a:xfrm>
            <a:off x="3233069" y="1519129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Flexibility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RANSFERABLE SKILLS - EXAMPLES</a:t>
            </a:r>
          </a:p>
        </p:txBody>
      </p:sp>
      <p:pic>
        <p:nvPicPr>
          <p:cNvPr id="15" name="Picture Placeholder 14" descr="Text&#10;&#10;Description automatically generated with low confidence">
            <a:extLst>
              <a:ext uri="{FF2B5EF4-FFF2-40B4-BE49-F238E27FC236}">
                <a16:creationId xmlns:a16="http://schemas.microsoft.com/office/drawing/2014/main" id="{1A8C8E7B-A2F5-457B-B0BD-04B736AB56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" t="5227" r="40572" b="3055"/>
          <a:stretch/>
        </p:blipFill>
        <p:spPr>
          <a:xfrm>
            <a:off x="9357300" y="-250939"/>
            <a:ext cx="3128359" cy="3128359"/>
          </a:xfr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9CD9CC4D-D715-4BEA-A838-C3D50A0FF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41" y="1262747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17510F09-08AE-40B7-A2F8-744EE662B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5773" y="2480052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7BEA665F-8485-423B-A0EF-249673E68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70" y="3770272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DB268481-15CD-43FC-A837-E3D080295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3783" y="1607134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BD7F44D-4DA1-4FFC-891F-89632898A7F0}"/>
              </a:ext>
            </a:extLst>
          </p:cNvPr>
          <p:cNvSpPr txBox="1">
            <a:spLocks/>
          </p:cNvSpPr>
          <p:nvPr/>
        </p:nvSpPr>
        <p:spPr>
          <a:xfrm>
            <a:off x="637334" y="2126833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Teamwork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5A05272-E08B-4FCB-8F18-44D937FDF594}"/>
              </a:ext>
            </a:extLst>
          </p:cNvPr>
          <p:cNvSpPr txBox="1">
            <a:spLocks/>
          </p:cNvSpPr>
          <p:nvPr/>
        </p:nvSpPr>
        <p:spPr>
          <a:xfrm>
            <a:off x="6123783" y="2372822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Problem</a:t>
            </a:r>
            <a:br>
              <a:rPr lang="en-US" b="1">
                <a:latin typeface="Ink Free" panose="03080402000500000000" pitchFamily="66" charset="0"/>
              </a:rPr>
            </a:br>
            <a:r>
              <a:rPr lang="en-US" b="1">
                <a:latin typeface="Ink Free" panose="03080402000500000000" pitchFamily="66" charset="0"/>
              </a:rPr>
              <a:t>solving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86FBEAA-02C6-4DE9-9145-18269B93FCA0}"/>
              </a:ext>
            </a:extLst>
          </p:cNvPr>
          <p:cNvSpPr txBox="1">
            <a:spLocks/>
          </p:cNvSpPr>
          <p:nvPr/>
        </p:nvSpPr>
        <p:spPr>
          <a:xfrm>
            <a:off x="2755773" y="3131905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latin typeface="Ink Free" panose="03080402000500000000" pitchFamily="66" charset="0"/>
              </a:rPr>
              <a:t>Critical thinking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01F430-06D3-4BD1-83FD-BA2705FA51C8}"/>
              </a:ext>
            </a:extLst>
          </p:cNvPr>
          <p:cNvSpPr txBox="1">
            <a:spLocks/>
          </p:cNvSpPr>
          <p:nvPr/>
        </p:nvSpPr>
        <p:spPr>
          <a:xfrm>
            <a:off x="1003237" y="4634358"/>
            <a:ext cx="2082929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Adaptability</a:t>
            </a:r>
            <a:endParaRPr lang="nl-NL" sz="2400" b="1">
              <a:latin typeface="Ink Free" panose="03080402000500000000" pitchFamily="66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BF24B0-B98C-9614-05DB-3309BDD3BC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969" y="2959456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2B5E9D5-28D9-0842-C97C-18E68C4AEF75}"/>
              </a:ext>
            </a:extLst>
          </p:cNvPr>
          <p:cNvSpPr txBox="1">
            <a:spLocks/>
          </p:cNvSpPr>
          <p:nvPr/>
        </p:nvSpPr>
        <p:spPr>
          <a:xfrm>
            <a:off x="4836969" y="3669714"/>
            <a:ext cx="1847061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err="1">
                <a:latin typeface="Ink Free" panose="03080402000500000000" pitchFamily="66" charset="0"/>
              </a:rPr>
              <a:t>Communi</a:t>
            </a:r>
            <a:r>
              <a:rPr lang="en-US" b="1">
                <a:latin typeface="Ink Free" panose="03080402000500000000" pitchFamily="66" charset="0"/>
              </a:rPr>
              <a:t>-cation</a:t>
            </a:r>
            <a:endParaRPr lang="nl-NL" b="1">
              <a:latin typeface="Ink Free" panose="03080402000500000000" pitchFamily="66" charset="0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FE7C2B43-B618-4C19-AD0B-968E6C741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666" y="4588380"/>
            <a:ext cx="1908464" cy="20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CC12F1E-1A5E-44A7-8558-5BC406E2469F}"/>
              </a:ext>
            </a:extLst>
          </p:cNvPr>
          <p:cNvSpPr txBox="1">
            <a:spLocks/>
          </p:cNvSpPr>
          <p:nvPr/>
        </p:nvSpPr>
        <p:spPr>
          <a:xfrm>
            <a:off x="3171666" y="5335300"/>
            <a:ext cx="1796506" cy="706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latin typeface="Ink Free" panose="03080402000500000000" pitchFamily="66" charset="0"/>
              </a:rPr>
              <a:t>Attention to detail</a:t>
            </a:r>
            <a:endParaRPr lang="nl-NL" sz="2400" b="1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3273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122FB-BB8A-1FF6-F8DC-6463ACB29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N EXAMPL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1A84DB1-8CD7-5F1C-8B69-6CDA62EF8160}"/>
              </a:ext>
            </a:extLst>
          </p:cNvPr>
          <p:cNvSpPr/>
          <p:nvPr/>
        </p:nvSpPr>
        <p:spPr>
          <a:xfrm>
            <a:off x="5613400" y="910400"/>
            <a:ext cx="6045200" cy="290021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ABA6331-61D4-4AE0-78AE-1894A55441CE}"/>
              </a:ext>
            </a:extLst>
          </p:cNvPr>
          <p:cNvSpPr txBox="1">
            <a:spLocks/>
          </p:cNvSpPr>
          <p:nvPr/>
        </p:nvSpPr>
        <p:spPr>
          <a:xfrm>
            <a:off x="5721350" y="1159130"/>
            <a:ext cx="5829300" cy="240275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>
                <a:latin typeface="Ink Free" panose="03080402000500000000" pitchFamily="66" charset="0"/>
              </a:rPr>
              <a:t>Finding a job role that matches your personality is only part of the equation. You also need to find a role that matches your skillset.</a:t>
            </a:r>
            <a:endParaRPr lang="nl-NL" sz="3600" b="1">
              <a:solidFill>
                <a:srgbClr val="00AEEF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8129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082221-10B8-40AE-962A-9B1233B13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HE RELEV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AF59F65-4169-4237-BA15-5DC404D88AB6}"/>
              </a:ext>
            </a:extLst>
          </p:cNvPr>
          <p:cNvSpPr/>
          <p:nvPr/>
        </p:nvSpPr>
        <p:spPr>
          <a:xfrm>
            <a:off x="6441929" y="3543299"/>
            <a:ext cx="5226630" cy="270538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E11704E-78F4-436D-BA64-60B52243E96D}"/>
              </a:ext>
            </a:extLst>
          </p:cNvPr>
          <p:cNvSpPr txBox="1">
            <a:spLocks/>
          </p:cNvSpPr>
          <p:nvPr/>
        </p:nvSpPr>
        <p:spPr>
          <a:xfrm>
            <a:off x="6560641" y="3799232"/>
            <a:ext cx="5387519" cy="2193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600">
                <a:latin typeface="Ink Free" panose="03080402000500000000" pitchFamily="66" charset="0"/>
              </a:rPr>
              <a:t>So ... Why is it important to know about your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Personality Traits </a:t>
            </a:r>
            <a:r>
              <a:rPr lang="nl-NL" sz="3600">
                <a:latin typeface="Ink Free" panose="03080402000500000000" pitchFamily="66" charset="0"/>
              </a:rPr>
              <a:t>and </a:t>
            </a:r>
            <a:r>
              <a:rPr lang="nl-NL" sz="3600" b="1">
                <a:solidFill>
                  <a:srgbClr val="00AEEF"/>
                </a:solidFill>
                <a:latin typeface="Ink Free" panose="03080402000500000000" pitchFamily="66" charset="0"/>
              </a:rPr>
              <a:t>Transferable Skills</a:t>
            </a:r>
            <a:r>
              <a:rPr lang="nl-NL" sz="3600">
                <a:latin typeface="Ink Free" panose="03080402000500000000" pitchFamily="66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1540714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925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260B93-38F9-4918-B41F-C916534B7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800"/>
              <a:t>YOUR CAREER – LOGISTICS ACTIVITY</a:t>
            </a:r>
          </a:p>
        </p:txBody>
      </p:sp>
      <p:pic>
        <p:nvPicPr>
          <p:cNvPr id="4" name="Picture Placeholder 8" descr="A picture containing sky, smoke, fighter&#10;&#10;Description automatically generated">
            <a:extLst>
              <a:ext uri="{FF2B5EF4-FFF2-40B4-BE49-F238E27FC236}">
                <a16:creationId xmlns:a16="http://schemas.microsoft.com/office/drawing/2014/main" id="{33C266AC-61B2-7064-4A5F-BFA3BB8710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0" r="23750"/>
          <a:stretch>
            <a:fillRect/>
          </a:stretch>
        </p:blipFill>
        <p:spPr>
          <a:xfrm>
            <a:off x="-294826" y="-333374"/>
            <a:ext cx="4790626" cy="479062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041790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D09A5E-707B-4DAE-B4A3-C64875525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INDUSTRY AS AN EXAMPL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18A7EB4-AAFE-4786-8065-6B7FF810C01F}"/>
              </a:ext>
            </a:extLst>
          </p:cNvPr>
          <p:cNvSpPr/>
          <p:nvPr/>
        </p:nvSpPr>
        <p:spPr>
          <a:xfrm>
            <a:off x="5834121" y="2924175"/>
            <a:ext cx="5624947" cy="2848264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4034F75-76EB-4E39-90B9-A314A4B535E8}"/>
              </a:ext>
            </a:extLst>
          </p:cNvPr>
          <p:cNvSpPr txBox="1">
            <a:spLocks/>
          </p:cNvSpPr>
          <p:nvPr/>
        </p:nvSpPr>
        <p:spPr>
          <a:xfrm>
            <a:off x="6071549" y="3362325"/>
            <a:ext cx="5387519" cy="22154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latin typeface="Ink Free" panose="03080402000500000000" pitchFamily="66" charset="0"/>
              </a:rPr>
              <a:t>When you think of the word '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Logistics</a:t>
            </a:r>
            <a:r>
              <a:rPr lang="en-US" sz="3600">
                <a:latin typeface="Ink Free" panose="03080402000500000000" pitchFamily="66" charset="0"/>
              </a:rPr>
              <a:t>', what thoughts or words come to mind?</a:t>
            </a:r>
            <a:endParaRPr lang="nl-NL" sz="3600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0726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... BUZZ WORDS</a:t>
            </a:r>
          </a:p>
        </p:txBody>
      </p:sp>
      <p:pic>
        <p:nvPicPr>
          <p:cNvPr id="35" name="Picture Placeholder 34" descr="A picture containing sky, smoke, fighter&#10;&#10;Description automatically generated">
            <a:extLst>
              <a:ext uri="{FF2B5EF4-FFF2-40B4-BE49-F238E27FC236}">
                <a16:creationId xmlns:a16="http://schemas.microsoft.com/office/drawing/2014/main" id="{45235B97-8418-4A9A-80EE-6F0D2217640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4" t="1253" r="21716" b="611"/>
          <a:stretch/>
        </p:blipFill>
        <p:spPr>
          <a:xfrm>
            <a:off x="-200536" y="3878440"/>
            <a:ext cx="3099286" cy="3099286"/>
          </a:xfrm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657D24FD-FA87-4ABE-B3D3-56C1BEB9B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926816" y="3370910"/>
            <a:ext cx="734978" cy="5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5E0EFC1-46CE-4C41-B7B7-4089F1BA6884}"/>
              </a:ext>
            </a:extLst>
          </p:cNvPr>
          <p:cNvSpPr txBox="1">
            <a:spLocks/>
          </p:cNvSpPr>
          <p:nvPr/>
        </p:nvSpPr>
        <p:spPr>
          <a:xfrm>
            <a:off x="2350274" y="1000173"/>
            <a:ext cx="2920451" cy="1000537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SEA TRANSPORT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845D939-7D68-4056-8EB6-EFEBBF033983}"/>
              </a:ext>
            </a:extLst>
          </p:cNvPr>
          <p:cNvSpPr txBox="1">
            <a:spLocks/>
          </p:cNvSpPr>
          <p:nvPr/>
        </p:nvSpPr>
        <p:spPr>
          <a:xfrm>
            <a:off x="9464151" y="4331929"/>
            <a:ext cx="2395287" cy="624367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TRANSPORT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7720654-F888-45E1-9242-29948F76B6A7}"/>
              </a:ext>
            </a:extLst>
          </p:cNvPr>
          <p:cNvSpPr txBox="1">
            <a:spLocks/>
          </p:cNvSpPr>
          <p:nvPr/>
        </p:nvSpPr>
        <p:spPr>
          <a:xfrm>
            <a:off x="3670525" y="2724970"/>
            <a:ext cx="1600200" cy="777188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CARGO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0FF4FBE-514E-4D95-97C3-EF9017D48640}"/>
              </a:ext>
            </a:extLst>
          </p:cNvPr>
          <p:cNvSpPr txBox="1">
            <a:spLocks/>
          </p:cNvSpPr>
          <p:nvPr/>
        </p:nvSpPr>
        <p:spPr>
          <a:xfrm>
            <a:off x="9496421" y="5632800"/>
            <a:ext cx="1970065" cy="516217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DRIVERS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8675208-6A3C-4927-8A05-00F234424240}"/>
              </a:ext>
            </a:extLst>
          </p:cNvPr>
          <p:cNvSpPr txBox="1">
            <a:spLocks/>
          </p:cNvSpPr>
          <p:nvPr/>
        </p:nvSpPr>
        <p:spPr>
          <a:xfrm>
            <a:off x="6555674" y="289227"/>
            <a:ext cx="4527698" cy="911318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defPPr>
              <a:defRPr lang="nl-NL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latin typeface="Ink Free" panose="03080402000500000000" pitchFamily="66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800"/>
              <a:t>PLAINS, TRAINS AND AUTOMOBILES</a:t>
            </a:r>
            <a:endParaRPr lang="nl-NL" sz="280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296C8DD-965B-4061-8AAE-C34AB1B85AF6}"/>
              </a:ext>
            </a:extLst>
          </p:cNvPr>
          <p:cNvSpPr txBox="1">
            <a:spLocks/>
          </p:cNvSpPr>
          <p:nvPr/>
        </p:nvSpPr>
        <p:spPr>
          <a:xfrm>
            <a:off x="5573321" y="3733363"/>
            <a:ext cx="3231697" cy="972819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FROM HERE TO THERE (A TO B)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FE85D52-FFDA-43BA-BFE6-A41AC683ABE7}"/>
              </a:ext>
            </a:extLst>
          </p:cNvPr>
          <p:cNvSpPr txBox="1">
            <a:spLocks/>
          </p:cNvSpPr>
          <p:nvPr/>
        </p:nvSpPr>
        <p:spPr>
          <a:xfrm>
            <a:off x="6969118" y="2245749"/>
            <a:ext cx="1600200" cy="659631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C00000"/>
                </a:solidFill>
                <a:latin typeface="Ink Free" panose="03080402000500000000" pitchFamily="66" charset="0"/>
              </a:rPr>
              <a:t>DPDHL</a:t>
            </a:r>
            <a:endParaRPr lang="nl-NL" b="1">
              <a:solidFill>
                <a:srgbClr val="C00000"/>
              </a:solidFill>
              <a:latin typeface="Ink Free" panose="03080402000500000000" pitchFamily="66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EE21BA4-1447-4B72-A5A7-C5A783615955}"/>
              </a:ext>
            </a:extLst>
          </p:cNvPr>
          <p:cNvSpPr txBox="1">
            <a:spLocks/>
          </p:cNvSpPr>
          <p:nvPr/>
        </p:nvSpPr>
        <p:spPr>
          <a:xfrm>
            <a:off x="5006940" y="5596986"/>
            <a:ext cx="2597101" cy="972818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ROAD TRANSPORT</a:t>
            </a:r>
            <a:endParaRPr lang="nl-NL" b="1">
              <a:latin typeface="Ink Free" panose="03080402000500000000" pitchFamily="66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42AA35B-2BF3-44CD-8F02-B4231B570CDD}"/>
              </a:ext>
            </a:extLst>
          </p:cNvPr>
          <p:cNvSpPr txBox="1">
            <a:spLocks/>
          </p:cNvSpPr>
          <p:nvPr/>
        </p:nvSpPr>
        <p:spPr>
          <a:xfrm>
            <a:off x="9464151" y="1763783"/>
            <a:ext cx="2484604" cy="963932"/>
          </a:xfrm>
          <a:prstGeom prst="roundRect">
            <a:avLst/>
          </a:prstGeom>
          <a:solidFill>
            <a:schemeClr val="bg1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latin typeface="Ink Free" panose="03080402000500000000" pitchFamily="66" charset="0"/>
              </a:rPr>
              <a:t>AIR TRANSPORT</a:t>
            </a:r>
            <a:endParaRPr lang="nl-NL" b="1">
              <a:latin typeface="Ink Free" panose="03080402000500000000" pitchFamily="66" charset="0"/>
            </a:endParaRP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7DB3A163-644B-4AD2-9193-0D83D4FD7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001" y="1489932"/>
            <a:ext cx="734978" cy="5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08146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5F5795F-AA83-4B8C-88AE-E462A1DD7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fun facts</a:t>
            </a:r>
          </a:p>
        </p:txBody>
      </p:sp>
    </p:spTree>
    <p:extLst>
      <p:ext uri="{BB962C8B-B14F-4D97-AF65-F5344CB8AC3E}">
        <p14:creationId xmlns:p14="http://schemas.microsoft.com/office/powerpoint/2010/main" val="38221805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6B26744D-D75D-4305-BBCE-BE8A76EF3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FUN FACT - 1</a:t>
            </a:r>
          </a:p>
        </p:txBody>
      </p:sp>
      <p:pic>
        <p:nvPicPr>
          <p:cNvPr id="22" name="Picture Placeholder 21" descr="A close-up of some bowls&#10;&#10;Description automatically generated with low confidence">
            <a:extLst>
              <a:ext uri="{FF2B5EF4-FFF2-40B4-BE49-F238E27FC236}">
                <a16:creationId xmlns:a16="http://schemas.microsoft.com/office/drawing/2014/main" id="{B480211E-B61F-405B-B427-6C20E64D2BB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8" r="18448"/>
          <a:stretch>
            <a:fillRect/>
          </a:stretch>
        </p:blipFill>
        <p:spPr/>
      </p:pic>
      <p:sp>
        <p:nvSpPr>
          <p:cNvPr id="4" name="Timer bar">
            <a:extLst>
              <a:ext uri="{FF2B5EF4-FFF2-40B4-BE49-F238E27FC236}">
                <a16:creationId xmlns:a16="http://schemas.microsoft.com/office/drawing/2014/main" id="{8CB596EE-51E1-496B-98CC-349B662A99F4}"/>
              </a:ext>
            </a:extLst>
          </p:cNvPr>
          <p:cNvSpPr/>
          <p:nvPr/>
        </p:nvSpPr>
        <p:spPr bwMode="auto">
          <a:xfrm>
            <a:off x="666756" y="3817227"/>
            <a:ext cx="9088216" cy="996352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9E2145-C76E-4425-9296-82176C7C69E4}"/>
              </a:ext>
            </a:extLst>
          </p:cNvPr>
          <p:cNvGrpSpPr/>
          <p:nvPr/>
        </p:nvGrpSpPr>
        <p:grpSpPr>
          <a:xfrm>
            <a:off x="509236" y="3429883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77C7D93F-0AF6-4604-9D20-05B663CBE2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09957DE-D4E8-40CB-8B31-1FE410592665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93063EF-401C-47BB-9F6E-E8D5CBC80BA0}"/>
              </a:ext>
            </a:extLst>
          </p:cNvPr>
          <p:cNvSpPr/>
          <p:nvPr/>
        </p:nvSpPr>
        <p:spPr>
          <a:xfrm>
            <a:off x="509373" y="4727807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AC182A4-C5DC-4032-9143-CD7ED2A02999}"/>
              </a:ext>
            </a:extLst>
          </p:cNvPr>
          <p:cNvSpPr/>
          <p:nvPr/>
        </p:nvSpPr>
        <p:spPr>
          <a:xfrm>
            <a:off x="509373" y="34290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E73040A6-29FD-4A08-992D-3C19863C26D0}"/>
              </a:ext>
            </a:extLst>
          </p:cNvPr>
          <p:cNvSpPr txBox="1"/>
          <p:nvPr/>
        </p:nvSpPr>
        <p:spPr>
          <a:xfrm>
            <a:off x="666756" y="1684048"/>
            <a:ext cx="7124694" cy="16876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en-US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f you joined together all the sausages that the logistics industry delivers in one year, they’d reach beyond the moon.</a:t>
            </a:r>
          </a:p>
          <a:p>
            <a:endParaRPr sz="240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0C9939-ACE7-4081-A027-EA796C945A30}"/>
              </a:ext>
            </a:extLst>
          </p:cNvPr>
          <p:cNvSpPr/>
          <p:nvPr/>
        </p:nvSpPr>
        <p:spPr>
          <a:xfrm>
            <a:off x="834309" y="350419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RU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8A98E07-31BE-4476-BC6A-870B40F282A8}"/>
              </a:ext>
            </a:extLst>
          </p:cNvPr>
          <p:cNvSpPr/>
          <p:nvPr/>
        </p:nvSpPr>
        <p:spPr>
          <a:xfrm>
            <a:off x="834309" y="483471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ALS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447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E8407DCA-5BB3-4454-B882-DF9C110AD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FUN FACT - 2</a:t>
            </a:r>
          </a:p>
        </p:txBody>
      </p:sp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97DA5A2C-7817-492D-B1CC-6B97D5BCAA4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" b="360"/>
          <a:stretch>
            <a:fillRect/>
          </a:stretch>
        </p:blipFill>
        <p:spPr/>
      </p:pic>
      <p:sp>
        <p:nvSpPr>
          <p:cNvPr id="20" name="Timer bar">
            <a:extLst>
              <a:ext uri="{FF2B5EF4-FFF2-40B4-BE49-F238E27FC236}">
                <a16:creationId xmlns:a16="http://schemas.microsoft.com/office/drawing/2014/main" id="{17807D52-728C-40C8-BA74-B1DCC642CCD6}"/>
              </a:ext>
            </a:extLst>
          </p:cNvPr>
          <p:cNvSpPr/>
          <p:nvPr/>
        </p:nvSpPr>
        <p:spPr bwMode="auto">
          <a:xfrm>
            <a:off x="666756" y="3817227"/>
            <a:ext cx="9088216" cy="996352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F81F09-8472-4E01-8D67-FD6BE8BFB385}"/>
              </a:ext>
            </a:extLst>
          </p:cNvPr>
          <p:cNvGrpSpPr/>
          <p:nvPr/>
        </p:nvGrpSpPr>
        <p:grpSpPr>
          <a:xfrm>
            <a:off x="509236" y="4725283"/>
            <a:ext cx="10615768" cy="1079495"/>
            <a:chOff x="415051" y="-1055547"/>
            <a:chExt cx="10615768" cy="1079495"/>
          </a:xfrm>
        </p:grpSpPr>
        <p:pic>
          <p:nvPicPr>
            <p:cNvPr id="22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A223A8E6-EBEC-415B-8CEC-D62AC1A011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F97EC55F-D7F0-4DE6-BE32-A49BE1E09ED2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D0BFDA2-3FDA-478E-9267-56053BE6322E}"/>
              </a:ext>
            </a:extLst>
          </p:cNvPr>
          <p:cNvSpPr/>
          <p:nvPr/>
        </p:nvSpPr>
        <p:spPr>
          <a:xfrm>
            <a:off x="509373" y="4727807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CFC3598-6754-4A48-BABA-5063D1D67F21}"/>
              </a:ext>
            </a:extLst>
          </p:cNvPr>
          <p:cNvSpPr/>
          <p:nvPr/>
        </p:nvSpPr>
        <p:spPr>
          <a:xfrm>
            <a:off x="509373" y="34290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26" name="object 18">
            <a:extLst>
              <a:ext uri="{FF2B5EF4-FFF2-40B4-BE49-F238E27FC236}">
                <a16:creationId xmlns:a16="http://schemas.microsoft.com/office/drawing/2014/main" id="{BAA537D7-FDEB-4765-A3F2-DB18D5A94D58}"/>
              </a:ext>
            </a:extLst>
          </p:cNvPr>
          <p:cNvSpPr txBox="1"/>
          <p:nvPr/>
        </p:nvSpPr>
        <p:spPr>
          <a:xfrm>
            <a:off x="666756" y="1684048"/>
            <a:ext cx="7124694" cy="16876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en-US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f you laid all of the railway tracks in the USA end to end, they would reach the whole way around the Earth.</a:t>
            </a:r>
          </a:p>
          <a:p>
            <a:endParaRPr sz="240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3B4248D-A60A-49A4-95F2-95DDEAA0DFD6}"/>
              </a:ext>
            </a:extLst>
          </p:cNvPr>
          <p:cNvSpPr/>
          <p:nvPr/>
        </p:nvSpPr>
        <p:spPr>
          <a:xfrm>
            <a:off x="834309" y="350419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RU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6C8E7F6-AB02-4568-97C1-716CE20AEAB3}"/>
              </a:ext>
            </a:extLst>
          </p:cNvPr>
          <p:cNvSpPr/>
          <p:nvPr/>
        </p:nvSpPr>
        <p:spPr>
          <a:xfrm>
            <a:off x="834309" y="483471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ALS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416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23EAA7-BB14-447D-9B4F-24CD22ED19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64314" y="5344156"/>
            <a:ext cx="2140936" cy="654025"/>
          </a:xfrm>
          <a:prstGeom prst="rect">
            <a:avLst/>
          </a:prstGeom>
        </p:spPr>
        <p:txBody>
          <a:bodyPr/>
          <a:lstStyle/>
          <a:p>
            <a:r>
              <a:rPr lang="nl-NL"/>
              <a:t>Your career: personality traits &amp; transferable skil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250CE-3AB6-4002-A51C-C849F93A07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32428" y="1441048"/>
            <a:ext cx="1939546" cy="654025"/>
          </a:xfrm>
          <a:prstGeom prst="rect">
            <a:avLst/>
          </a:prstGeom>
        </p:spPr>
        <p:txBody>
          <a:bodyPr/>
          <a:lstStyle/>
          <a:p>
            <a:r>
              <a:rPr lang="nl-NL"/>
              <a:t>Session introduction:</a:t>
            </a:r>
            <a:br>
              <a:rPr lang="nl-NL"/>
            </a:br>
            <a:r>
              <a:rPr lang="nl-NL"/>
              <a:t>Teaser and Guest Speak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A0FEB2-254F-4E23-92E2-B92B7140DB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46442" y="3918811"/>
            <a:ext cx="1871857" cy="654025"/>
          </a:xfrm>
          <a:prstGeom prst="rect">
            <a:avLst/>
          </a:prstGeom>
        </p:spPr>
        <p:txBody>
          <a:bodyPr/>
          <a:lstStyle/>
          <a:p>
            <a:r>
              <a:rPr lang="nl-NL"/>
              <a:t>Wrap up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EAB483-8E21-42CC-870F-BE6C52E578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05318" y="3918811"/>
            <a:ext cx="1736030" cy="377026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71EC199-378B-46BD-83F4-84B74CC41D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27558" y="1768061"/>
            <a:ext cx="2702699" cy="1103379"/>
          </a:xfrm>
          <a:prstGeom prst="rect">
            <a:avLst/>
          </a:prstGeom>
        </p:spPr>
        <p:txBody>
          <a:bodyPr/>
          <a:lstStyle/>
          <a:p>
            <a:r>
              <a:rPr lang="nl-NL"/>
              <a:t>Duration</a:t>
            </a:r>
            <a:br>
              <a:rPr lang="nl-NL"/>
            </a:br>
            <a:r>
              <a:rPr lang="nl-NL"/>
              <a:t>03:00 hour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A33BB-1BC0-435B-B1F4-9FFA9D0EC3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2029" y="2469348"/>
            <a:ext cx="1435056" cy="718658"/>
          </a:xfrm>
          <a:prstGeom prst="rect">
            <a:avLst/>
          </a:prstGeom>
        </p:spPr>
        <p:txBody>
          <a:bodyPr/>
          <a:lstStyle/>
          <a:p>
            <a:r>
              <a:rPr lang="nl-NL"/>
              <a:t>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B4BA21-80BB-4B16-A020-7A53175195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02201" y="3924680"/>
            <a:ext cx="1435056" cy="718658"/>
          </a:xfrm>
          <a:prstGeom prst="rect">
            <a:avLst/>
          </a:prstGeom>
        </p:spPr>
        <p:txBody>
          <a:bodyPr/>
          <a:lstStyle/>
          <a:p>
            <a:r>
              <a:rPr lang="nl-NL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A2812D-72D2-8061-0415-13F4A1EC2A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1861" y="4964099"/>
            <a:ext cx="1435056" cy="718658"/>
          </a:xfrm>
        </p:spPr>
        <p:txBody>
          <a:bodyPr/>
          <a:lstStyle/>
          <a:p>
            <a:r>
              <a:rPr lang="nl-NL"/>
              <a:t>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1B1BBEB-776F-4BCD-C534-E92AA6D147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114B0DA-52AD-4DD1-8D54-C074196BBC0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19143" y="2665098"/>
            <a:ext cx="1435056" cy="718658"/>
          </a:xfrm>
          <a:prstGeom prst="rect">
            <a:avLst/>
          </a:prstGeom>
        </p:spPr>
        <p:txBody>
          <a:bodyPr/>
          <a:lstStyle/>
          <a:p>
            <a:r>
              <a:rPr lang="nl-NL"/>
              <a:t>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B3BAEA-7E2A-4CC7-BE54-E5D3CE1034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85575" y="1347203"/>
            <a:ext cx="1969123" cy="654025"/>
          </a:xfrm>
          <a:prstGeom prst="rect">
            <a:avLst/>
          </a:prstGeom>
        </p:spPr>
        <p:txBody>
          <a:bodyPr/>
          <a:lstStyle/>
          <a:p>
            <a:r>
              <a:rPr lang="nl-NL"/>
              <a:t>Your career:</a:t>
            </a:r>
            <a:br>
              <a:rPr lang="nl-NL"/>
            </a:br>
            <a:r>
              <a:rPr lang="nl-NL"/>
              <a:t>Logistics activity</a:t>
            </a:r>
          </a:p>
        </p:txBody>
      </p:sp>
    </p:spTree>
    <p:extLst>
      <p:ext uri="{BB962C8B-B14F-4D97-AF65-F5344CB8AC3E}">
        <p14:creationId xmlns:p14="http://schemas.microsoft.com/office/powerpoint/2010/main" val="8813674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868326A-263C-4C57-A247-83F447690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FUN FACT - 3</a:t>
            </a: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5641FBDE-06BE-42B8-BB22-458DCDBE7B1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38" t="7470" r="-10710" b="-5799"/>
          <a:stretch/>
        </p:blipFill>
        <p:spPr>
          <a:xfrm>
            <a:off x="8674943" y="-302561"/>
            <a:ext cx="3892823" cy="3892823"/>
          </a:xfrm>
        </p:spPr>
      </p:pic>
      <p:sp>
        <p:nvSpPr>
          <p:cNvPr id="3" name="Timer bar">
            <a:extLst>
              <a:ext uri="{FF2B5EF4-FFF2-40B4-BE49-F238E27FC236}">
                <a16:creationId xmlns:a16="http://schemas.microsoft.com/office/drawing/2014/main" id="{1CEDF249-EAE1-4322-A899-89A9D9B1EBBD}"/>
              </a:ext>
            </a:extLst>
          </p:cNvPr>
          <p:cNvSpPr/>
          <p:nvPr/>
        </p:nvSpPr>
        <p:spPr bwMode="auto">
          <a:xfrm>
            <a:off x="666756" y="3817227"/>
            <a:ext cx="9088216" cy="996352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D1B0AB7-D6BD-4EF1-9219-BB51F4B670EF}"/>
              </a:ext>
            </a:extLst>
          </p:cNvPr>
          <p:cNvGrpSpPr/>
          <p:nvPr/>
        </p:nvGrpSpPr>
        <p:grpSpPr>
          <a:xfrm>
            <a:off x="509236" y="3429883"/>
            <a:ext cx="10615768" cy="1079495"/>
            <a:chOff x="415051" y="-1055547"/>
            <a:chExt cx="10615768" cy="1079495"/>
          </a:xfrm>
        </p:grpSpPr>
        <p:pic>
          <p:nvPicPr>
            <p:cNvPr id="5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73C8DD72-2CEC-4A19-B4D9-03EDC32F34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7F8075D-5443-4ABA-9803-B2EF636798D7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332F8B7-A191-4A4D-B4FB-EF60B6B3CD04}"/>
              </a:ext>
            </a:extLst>
          </p:cNvPr>
          <p:cNvSpPr/>
          <p:nvPr/>
        </p:nvSpPr>
        <p:spPr>
          <a:xfrm>
            <a:off x="509373" y="4727807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FA6F2EF-5ACC-4912-91CE-DB80CC84D4CD}"/>
              </a:ext>
            </a:extLst>
          </p:cNvPr>
          <p:cNvSpPr/>
          <p:nvPr/>
        </p:nvSpPr>
        <p:spPr>
          <a:xfrm>
            <a:off x="509373" y="34290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F6F0DF51-69EF-4A7D-9C91-779BF65E9032}"/>
              </a:ext>
            </a:extLst>
          </p:cNvPr>
          <p:cNvSpPr txBox="1"/>
          <p:nvPr/>
        </p:nvSpPr>
        <p:spPr>
          <a:xfrm>
            <a:off x="666756" y="1684048"/>
            <a:ext cx="7124694" cy="12567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en-US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he World’s largest cargo ship could carry the Eiffel Tower.</a:t>
            </a:r>
          </a:p>
          <a:p>
            <a:endParaRPr sz="240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1F9CBF-7A4E-4667-80FE-FE13013E5D6A}"/>
              </a:ext>
            </a:extLst>
          </p:cNvPr>
          <p:cNvSpPr/>
          <p:nvPr/>
        </p:nvSpPr>
        <p:spPr>
          <a:xfrm>
            <a:off x="834309" y="350419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RU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19381A-1909-4062-8780-859443D331A7}"/>
              </a:ext>
            </a:extLst>
          </p:cNvPr>
          <p:cNvSpPr/>
          <p:nvPr/>
        </p:nvSpPr>
        <p:spPr>
          <a:xfrm>
            <a:off x="834309" y="483471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ALS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444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0CFCAF4-D775-473B-A579-7AF843A26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LOGISTICS FUN FACT - 4</a:t>
            </a:r>
          </a:p>
        </p:txBody>
      </p:sp>
      <p:pic>
        <p:nvPicPr>
          <p:cNvPr id="15" name="Picture Placeholder 14" descr="Logo&#10;&#10;Description automatically generated with medium confidence">
            <a:extLst>
              <a:ext uri="{FF2B5EF4-FFF2-40B4-BE49-F238E27FC236}">
                <a16:creationId xmlns:a16="http://schemas.microsoft.com/office/drawing/2014/main" id="{A16C05CA-5270-4FE3-99E7-810EC1E2A4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5" r="13415"/>
          <a:stretch>
            <a:fillRect/>
          </a:stretch>
        </p:blipFill>
        <p:spPr/>
      </p:pic>
      <p:sp>
        <p:nvSpPr>
          <p:cNvPr id="3" name="Timer bar">
            <a:extLst>
              <a:ext uri="{FF2B5EF4-FFF2-40B4-BE49-F238E27FC236}">
                <a16:creationId xmlns:a16="http://schemas.microsoft.com/office/drawing/2014/main" id="{AE84EE08-12CF-471C-8E9B-4DB757022DA2}"/>
              </a:ext>
            </a:extLst>
          </p:cNvPr>
          <p:cNvSpPr/>
          <p:nvPr/>
        </p:nvSpPr>
        <p:spPr bwMode="auto">
          <a:xfrm>
            <a:off x="666756" y="3817227"/>
            <a:ext cx="9088216" cy="996352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B04D1B-A29E-4F60-A494-254C436AC8D5}"/>
              </a:ext>
            </a:extLst>
          </p:cNvPr>
          <p:cNvGrpSpPr/>
          <p:nvPr/>
        </p:nvGrpSpPr>
        <p:grpSpPr>
          <a:xfrm>
            <a:off x="509236" y="3429883"/>
            <a:ext cx="10615768" cy="1079495"/>
            <a:chOff x="415051" y="-1055547"/>
            <a:chExt cx="10615768" cy="1079495"/>
          </a:xfrm>
        </p:grpSpPr>
        <p:pic>
          <p:nvPicPr>
            <p:cNvPr id="5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4844BCE2-D3A7-4A89-90D5-55A0E5BA5B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1A8F555-9DD5-43CD-B580-EF85299FD555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90857DB-5431-4B36-B768-7804FF861018}"/>
              </a:ext>
            </a:extLst>
          </p:cNvPr>
          <p:cNvSpPr/>
          <p:nvPr/>
        </p:nvSpPr>
        <p:spPr>
          <a:xfrm>
            <a:off x="509373" y="4727807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B6D2D8D-A8D0-421C-A080-0C01E65FC7C0}"/>
              </a:ext>
            </a:extLst>
          </p:cNvPr>
          <p:cNvSpPr/>
          <p:nvPr/>
        </p:nvSpPr>
        <p:spPr>
          <a:xfrm>
            <a:off x="509373" y="34290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786FF0EE-3B29-4FDC-BBDE-D52104C28520}"/>
              </a:ext>
            </a:extLst>
          </p:cNvPr>
          <p:cNvSpPr txBox="1"/>
          <p:nvPr/>
        </p:nvSpPr>
        <p:spPr>
          <a:xfrm>
            <a:off x="666756" y="1684048"/>
            <a:ext cx="7124694" cy="16876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en-US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n 2014 Logistics company DHL Express transported two VIPs from China to Brussels: Hao </a:t>
            </a:r>
            <a:r>
              <a:rPr lang="en-US" sz="2800" err="1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Hao</a:t>
            </a:r>
            <a:r>
              <a:rPr lang="en-US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 and Xing Hui..</a:t>
            </a:r>
          </a:p>
          <a:p>
            <a:endParaRPr sz="240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E1E7D1-52E5-4194-8F7E-D5FE142B7CDF}"/>
              </a:ext>
            </a:extLst>
          </p:cNvPr>
          <p:cNvSpPr/>
          <p:nvPr/>
        </p:nvSpPr>
        <p:spPr>
          <a:xfrm>
            <a:off x="834309" y="350419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RU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10E896-4030-43A5-8C74-CD80276E682D}"/>
              </a:ext>
            </a:extLst>
          </p:cNvPr>
          <p:cNvSpPr/>
          <p:nvPr/>
        </p:nvSpPr>
        <p:spPr>
          <a:xfrm>
            <a:off x="834309" y="4834714"/>
            <a:ext cx="25958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FALSE</a:t>
            </a:r>
            <a:endParaRPr lang="en-US" sz="5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562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FC184DD-7AC5-43B1-ABE3-F4252915D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QUICK QUESTION ..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25C3E43-3DC9-4087-82A3-D481F7CF53DE}"/>
              </a:ext>
            </a:extLst>
          </p:cNvPr>
          <p:cNvSpPr/>
          <p:nvPr/>
        </p:nvSpPr>
        <p:spPr>
          <a:xfrm>
            <a:off x="5609603" y="3101521"/>
            <a:ext cx="5624947" cy="2848264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61776F0-0CD4-4BA5-9A28-7CE982AD8B4D}"/>
              </a:ext>
            </a:extLst>
          </p:cNvPr>
          <p:cNvSpPr txBox="1">
            <a:spLocks/>
          </p:cNvSpPr>
          <p:nvPr/>
        </p:nvSpPr>
        <p:spPr>
          <a:xfrm>
            <a:off x="5928632" y="3530146"/>
            <a:ext cx="5158426" cy="22154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latin typeface="Ink Free" panose="03080402000500000000" pitchFamily="66" charset="0"/>
              </a:rPr>
              <a:t>Who has ever heard of </a:t>
            </a:r>
            <a:r>
              <a:rPr lang="en-US" sz="3600" b="1">
                <a:solidFill>
                  <a:srgbClr val="C00000"/>
                </a:solidFill>
                <a:latin typeface="Ink Free" panose="03080402000500000000" pitchFamily="66" charset="0"/>
              </a:rPr>
              <a:t>DHL</a:t>
            </a:r>
            <a:r>
              <a:rPr lang="en-US" sz="3600">
                <a:latin typeface="Ink Free" panose="03080402000500000000" pitchFamily="66" charset="0"/>
              </a:rPr>
              <a:t> and if you heard of it, is there anything you can tell us about it?</a:t>
            </a:r>
            <a:endParaRPr lang="nl-NL" sz="3600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8205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444EB-F7AC-4C40-8F0E-916778EE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NY COMMONALITIES?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690F4CA-649D-4D52-9064-A2399AFB6F21}"/>
              </a:ext>
            </a:extLst>
          </p:cNvPr>
          <p:cNvGrpSpPr/>
          <p:nvPr/>
        </p:nvGrpSpPr>
        <p:grpSpPr>
          <a:xfrm>
            <a:off x="3714750" y="1695450"/>
            <a:ext cx="4924425" cy="3695700"/>
            <a:chOff x="3714750" y="1695450"/>
            <a:chExt cx="4924425" cy="3695700"/>
          </a:xfrm>
        </p:grpSpPr>
        <p:pic>
          <p:nvPicPr>
            <p:cNvPr id="1026" name="Picture 2" descr="Free Globe Cliparts, Download Free Globe Cliparts png images, Free ClipArts  on Clipart Library">
              <a:extLst>
                <a:ext uri="{FF2B5EF4-FFF2-40B4-BE49-F238E27FC236}">
                  <a16:creationId xmlns:a16="http://schemas.microsoft.com/office/drawing/2014/main" id="{2492D996-A770-40E5-AA2B-D1CC26D05F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22" b="98157" l="2155" r="98707">
                          <a14:foregroundMark x1="11638" y1="17051" x2="89224" y2="80645"/>
                          <a14:foregroundMark x1="43966" y1="1382" x2="98707" y2="42396"/>
                          <a14:foregroundMark x1="6466" y1="28571" x2="31897" y2="94931"/>
                          <a14:foregroundMark x1="43966" y1="97235" x2="63793" y2="98157"/>
                          <a14:foregroundMark x1="52586" y1="76037" x2="58190" y2="94470"/>
                          <a14:foregroundMark x1="45690" y1="96313" x2="66810" y2="90783"/>
                          <a14:foregroundMark x1="62069" y1="93548" x2="63362" y2="94009"/>
                          <a14:foregroundMark x1="5603" y1="37788" x2="2155" y2="43779"/>
                          <a14:backgroundMark x1="63793" y1="99078" x2="63793" y2="990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1100" y="2481262"/>
              <a:ext cx="2209800" cy="2066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727622FA-EF07-4CCA-9558-4C655D40E0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1695450"/>
              <a:ext cx="0" cy="68580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428BAF3B-D5D5-4A81-B001-CFFE288ED22E}"/>
                </a:ext>
              </a:extLst>
            </p:cNvPr>
            <p:cNvCxnSpPr>
              <a:cxnSpLocks/>
            </p:cNvCxnSpPr>
            <p:nvPr/>
          </p:nvCxnSpPr>
          <p:spPr>
            <a:xfrm>
              <a:off x="6172200" y="4657725"/>
              <a:ext cx="0" cy="733425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6E3900E1-12E4-4F98-8EF8-FBCFEEA14064}"/>
                </a:ext>
              </a:extLst>
            </p:cNvPr>
            <p:cNvCxnSpPr>
              <a:cxnSpLocks/>
            </p:cNvCxnSpPr>
            <p:nvPr/>
          </p:nvCxnSpPr>
          <p:spPr>
            <a:xfrm>
              <a:off x="7343775" y="3426615"/>
              <a:ext cx="1295400" cy="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D93F0E4E-5342-4021-B094-D14C79979D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4750" y="3426615"/>
              <a:ext cx="1167486" cy="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2248D-BDBF-49B3-8CAC-3CAB96F06C6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98493" y="2193641"/>
              <a:ext cx="799643" cy="530844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27BD3491-5886-4A28-87AD-FCC431B8A88F}"/>
                </a:ext>
              </a:extLst>
            </p:cNvPr>
            <p:cNvCxnSpPr>
              <a:cxnSpLocks/>
            </p:cNvCxnSpPr>
            <p:nvPr/>
          </p:nvCxnSpPr>
          <p:spPr>
            <a:xfrm>
              <a:off x="7025741" y="4210060"/>
              <a:ext cx="775687" cy="555788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31E183F2-D934-494F-B05D-D8750F6B6E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57266" y="2203449"/>
              <a:ext cx="715134" cy="53459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4C4891C0-1385-4188-90B4-390178618C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19600" y="4316757"/>
              <a:ext cx="775688" cy="674342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5B00D0E-253A-4651-AD70-E8FBAC2274FE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82236" y="369850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2563181-48B5-4D97-A7EE-D516996C2C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2202" y="5497967"/>
            <a:ext cx="2519995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DF27D61-53A1-438C-94B6-62ADAEF254E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997206" y="2796615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8C50F4B-A929-453A-9EA8-95127AA54A5E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36719" y="2743480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4B4FA14-16CA-4663-BC0F-5E37A0A8483E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8034873" y="978697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CD3FDEA0-82F8-4097-BD29-D4CED7418D40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600202" y="4807730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0486589-11EE-41C8-921E-C771D36ED54D}"/>
              </a:ext>
            </a:extLst>
          </p:cNvPr>
          <p:cNvPicPr>
            <a:picLocks/>
          </p:cNvPicPr>
          <p:nvPr/>
        </p:nvPicPr>
        <p:blipFill rotWithShape="1">
          <a:blip r:embed="rId11"/>
          <a:srcRect r="7286"/>
          <a:stretch/>
        </p:blipFill>
        <p:spPr>
          <a:xfrm>
            <a:off x="8160366" y="4867966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164716B-A3D4-470F-8C45-730440ED9FF9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1591476" y="978697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DD90205C-7FFB-4282-A99F-303C7CF9C64D}"/>
              </a:ext>
            </a:extLst>
          </p:cNvPr>
          <p:cNvSpPr txBox="1"/>
          <p:nvPr/>
        </p:nvSpPr>
        <p:spPr>
          <a:xfrm>
            <a:off x="1637127" y="625405"/>
            <a:ext cx="1045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Logistic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C84CEC-13B1-4EC1-A18E-0F7FF47DA0E1}"/>
              </a:ext>
            </a:extLst>
          </p:cNvPr>
          <p:cNvSpPr txBox="1"/>
          <p:nvPr/>
        </p:nvSpPr>
        <p:spPr>
          <a:xfrm>
            <a:off x="8312541" y="4498634"/>
            <a:ext cx="1045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Logistic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7D07D44-1793-453E-9971-BDB60B0E5A38}"/>
              </a:ext>
            </a:extLst>
          </p:cNvPr>
          <p:cNvSpPr txBox="1"/>
          <p:nvPr/>
        </p:nvSpPr>
        <p:spPr>
          <a:xfrm>
            <a:off x="4991100" y="29030"/>
            <a:ext cx="84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Sport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4F5AF24-D29A-4F64-A49F-C590DDB9F572}"/>
              </a:ext>
            </a:extLst>
          </p:cNvPr>
          <p:cNvSpPr txBox="1"/>
          <p:nvPr/>
        </p:nvSpPr>
        <p:spPr>
          <a:xfrm>
            <a:off x="5089635" y="5128634"/>
            <a:ext cx="84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Sport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AD347B4-72B2-4561-A298-919078BF3130}"/>
              </a:ext>
            </a:extLst>
          </p:cNvPr>
          <p:cNvSpPr txBox="1"/>
          <p:nvPr/>
        </p:nvSpPr>
        <p:spPr>
          <a:xfrm>
            <a:off x="8116435" y="65693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Fashion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93BA971-97BA-4298-9233-AB599FC9C970}"/>
              </a:ext>
            </a:extLst>
          </p:cNvPr>
          <p:cNvSpPr txBox="1"/>
          <p:nvPr/>
        </p:nvSpPr>
        <p:spPr>
          <a:xfrm>
            <a:off x="9048100" y="2453455"/>
            <a:ext cx="726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Music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9FBDF94-F19C-415B-9C63-966D0AA5B75C}"/>
              </a:ext>
            </a:extLst>
          </p:cNvPr>
          <p:cNvSpPr txBox="1"/>
          <p:nvPr/>
        </p:nvSpPr>
        <p:spPr>
          <a:xfrm>
            <a:off x="931627" y="2426779"/>
            <a:ext cx="854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Movie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9F26BA1-D395-4EC1-B61B-0FF24729F7D4}"/>
              </a:ext>
            </a:extLst>
          </p:cNvPr>
          <p:cNvSpPr txBox="1"/>
          <p:nvPr/>
        </p:nvSpPr>
        <p:spPr>
          <a:xfrm>
            <a:off x="1623981" y="4469262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Disaster</a:t>
            </a:r>
          </a:p>
        </p:txBody>
      </p:sp>
    </p:spTree>
    <p:extLst>
      <p:ext uri="{BB962C8B-B14F-4D97-AF65-F5344CB8AC3E}">
        <p14:creationId xmlns:p14="http://schemas.microsoft.com/office/powerpoint/2010/main" val="7872624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35CE3DE9-63A7-41AF-89EA-B7639E638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WE ARE EVERYWERE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0BC2AA4-11D9-4074-8E19-655152DD6CB6}"/>
              </a:ext>
            </a:extLst>
          </p:cNvPr>
          <p:cNvGrpSpPr/>
          <p:nvPr/>
        </p:nvGrpSpPr>
        <p:grpSpPr>
          <a:xfrm>
            <a:off x="3714750" y="1695450"/>
            <a:ext cx="4924425" cy="3695700"/>
            <a:chOff x="3714750" y="1695450"/>
            <a:chExt cx="4924425" cy="3695700"/>
          </a:xfrm>
        </p:grpSpPr>
        <p:pic>
          <p:nvPicPr>
            <p:cNvPr id="4" name="Picture 2" descr="Free Globe Cliparts, Download Free Globe Cliparts png images, Free ClipArts  on Clipart Library">
              <a:extLst>
                <a:ext uri="{FF2B5EF4-FFF2-40B4-BE49-F238E27FC236}">
                  <a16:creationId xmlns:a16="http://schemas.microsoft.com/office/drawing/2014/main" id="{58E45D3C-4E65-4A10-92F3-7AAF2CD992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22" b="98157" l="2155" r="98707">
                          <a14:foregroundMark x1="11638" y1="17051" x2="89224" y2="80645"/>
                          <a14:foregroundMark x1="43966" y1="1382" x2="98707" y2="42396"/>
                          <a14:foregroundMark x1="6466" y1="28571" x2="31897" y2="94931"/>
                          <a14:foregroundMark x1="43966" y1="97235" x2="63793" y2="98157"/>
                          <a14:foregroundMark x1="52586" y1="76037" x2="58190" y2="94470"/>
                          <a14:foregroundMark x1="45690" y1="96313" x2="66810" y2="90783"/>
                          <a14:foregroundMark x1="62069" y1="93548" x2="63362" y2="94009"/>
                          <a14:foregroundMark x1="5603" y1="37788" x2="2155" y2="43779"/>
                          <a14:backgroundMark x1="63793" y1="99078" x2="63793" y2="990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1100" y="2481262"/>
              <a:ext cx="2209800" cy="2066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10">
              <a:extLst>
                <a:ext uri="{FF2B5EF4-FFF2-40B4-BE49-F238E27FC236}">
                  <a16:creationId xmlns:a16="http://schemas.microsoft.com/office/drawing/2014/main" id="{8D47E97A-4E77-4482-A519-D7B2BF36B1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679478">
              <a:off x="5196783" y="3063636"/>
              <a:ext cx="1384191" cy="429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C0E42FB2-5C84-42C9-AA57-21838362F5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1695450"/>
              <a:ext cx="0" cy="68580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79985535-AEE5-46CB-B7B2-CFCA45F9E8D4}"/>
                </a:ext>
              </a:extLst>
            </p:cNvPr>
            <p:cNvCxnSpPr>
              <a:cxnSpLocks/>
            </p:cNvCxnSpPr>
            <p:nvPr/>
          </p:nvCxnSpPr>
          <p:spPr>
            <a:xfrm>
              <a:off x="6172200" y="4657725"/>
              <a:ext cx="0" cy="733425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30F779A6-6C26-43DA-81C8-4191D5FD1D15}"/>
                </a:ext>
              </a:extLst>
            </p:cNvPr>
            <p:cNvCxnSpPr>
              <a:cxnSpLocks/>
            </p:cNvCxnSpPr>
            <p:nvPr/>
          </p:nvCxnSpPr>
          <p:spPr>
            <a:xfrm>
              <a:off x="7343775" y="3426615"/>
              <a:ext cx="1295400" cy="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8AC8DCD8-D1D1-4A54-8F01-E548EC8DA5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4750" y="3426615"/>
              <a:ext cx="1167486" cy="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16D2E198-FECE-4499-A499-F8EFA270BF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98493" y="2193641"/>
              <a:ext cx="799643" cy="530844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F5A53F37-54A8-42C5-9EA2-6C77444C486E}"/>
                </a:ext>
              </a:extLst>
            </p:cNvPr>
            <p:cNvCxnSpPr>
              <a:cxnSpLocks/>
            </p:cNvCxnSpPr>
            <p:nvPr/>
          </p:nvCxnSpPr>
          <p:spPr>
            <a:xfrm>
              <a:off x="7025741" y="4210060"/>
              <a:ext cx="775687" cy="555788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DBE9B38-4B05-438E-8C0F-56D5D8AA91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57266" y="2203449"/>
              <a:ext cx="715134" cy="534590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9D92D09-F39D-4ECA-BEDA-646CDCC954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19600" y="4316757"/>
              <a:ext cx="775688" cy="674342"/>
            </a:xfrm>
            <a:prstGeom prst="straightConnector1">
              <a:avLst/>
            </a:prstGeom>
            <a:ln w="34925">
              <a:solidFill>
                <a:schemeClr val="tx1">
                  <a:lumMod val="50000"/>
                  <a:lumOff val="50000"/>
                </a:schemeClr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4F86FA1-6D45-481C-88B2-DBA9014F2F15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590233" y="980574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AE6024E-1B69-49BF-9A2F-98ADFCB13B8A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886414" y="364737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2CDF413-E243-43B5-9B39-8B80927E71F4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034873" y="978193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2445C4-3B5A-4DB8-AA09-7AD563F40F1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36719" y="2745357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CA12-C99F-4945-8C0F-9CB1F6328840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8997206" y="2796111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6A488F0-FDB2-44F1-9A54-B126BD238BE7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160362" y="4867966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ADFC824-F06C-4FA1-B060-F5F36EF65A72}"/>
              </a:ext>
            </a:extLst>
          </p:cNvPr>
          <p:cNvPicPr>
            <a:picLocks/>
          </p:cNvPicPr>
          <p:nvPr/>
        </p:nvPicPr>
        <p:blipFill rotWithShape="1">
          <a:blip r:embed="rId11"/>
          <a:srcRect t="13777"/>
          <a:stretch/>
        </p:blipFill>
        <p:spPr>
          <a:xfrm>
            <a:off x="4912341" y="5498031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8560EB4-97DA-4EAA-BB0D-B0FCEC502C30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1602138" y="4809853"/>
            <a:ext cx="2520000" cy="12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84037C3-E77D-49FE-B67B-7A1D5C298FDF}"/>
              </a:ext>
            </a:extLst>
          </p:cNvPr>
          <p:cNvSpPr txBox="1"/>
          <p:nvPr/>
        </p:nvSpPr>
        <p:spPr>
          <a:xfrm>
            <a:off x="1637127" y="625405"/>
            <a:ext cx="1045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Logistic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197B94-E019-48CA-A352-69AA61CA0AC0}"/>
              </a:ext>
            </a:extLst>
          </p:cNvPr>
          <p:cNvSpPr txBox="1"/>
          <p:nvPr/>
        </p:nvSpPr>
        <p:spPr>
          <a:xfrm>
            <a:off x="8312541" y="4498634"/>
            <a:ext cx="1045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Logistic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6F9DA5-DBE9-496B-BCB9-558A8820013A}"/>
              </a:ext>
            </a:extLst>
          </p:cNvPr>
          <p:cNvSpPr txBox="1"/>
          <p:nvPr/>
        </p:nvSpPr>
        <p:spPr>
          <a:xfrm>
            <a:off x="4991100" y="29030"/>
            <a:ext cx="84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Spor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0062A28-9940-4B0F-A7CD-F5C639C5909A}"/>
              </a:ext>
            </a:extLst>
          </p:cNvPr>
          <p:cNvSpPr txBox="1"/>
          <p:nvPr/>
        </p:nvSpPr>
        <p:spPr>
          <a:xfrm>
            <a:off x="5089635" y="5128634"/>
            <a:ext cx="84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Spor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FECC5D-E543-4CDE-BDC2-AA4AF04D1663}"/>
              </a:ext>
            </a:extLst>
          </p:cNvPr>
          <p:cNvSpPr txBox="1"/>
          <p:nvPr/>
        </p:nvSpPr>
        <p:spPr>
          <a:xfrm>
            <a:off x="8116435" y="65693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Fash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450C92-FCE9-4C5C-A9BF-B332FB8053A9}"/>
              </a:ext>
            </a:extLst>
          </p:cNvPr>
          <p:cNvSpPr txBox="1"/>
          <p:nvPr/>
        </p:nvSpPr>
        <p:spPr>
          <a:xfrm>
            <a:off x="9048100" y="2453455"/>
            <a:ext cx="726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Musi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9FDBBFD-4B8E-4104-B2EC-1FDA93E89723}"/>
              </a:ext>
            </a:extLst>
          </p:cNvPr>
          <p:cNvSpPr txBox="1"/>
          <p:nvPr/>
        </p:nvSpPr>
        <p:spPr>
          <a:xfrm>
            <a:off x="931627" y="2426779"/>
            <a:ext cx="854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Mov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A24CB54-1256-4A12-9DC4-850F76A8C937}"/>
              </a:ext>
            </a:extLst>
          </p:cNvPr>
          <p:cNvSpPr txBox="1"/>
          <p:nvPr/>
        </p:nvSpPr>
        <p:spPr>
          <a:xfrm>
            <a:off x="1623981" y="4469262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>
                <a:latin typeface="Ink Free" panose="03080402000500000000" pitchFamily="66" charset="0"/>
              </a:rPr>
              <a:t>Disaster Response Team</a:t>
            </a:r>
          </a:p>
        </p:txBody>
      </p:sp>
    </p:spTree>
    <p:extLst>
      <p:ext uri="{BB962C8B-B14F-4D97-AF65-F5344CB8AC3E}">
        <p14:creationId xmlns:p14="http://schemas.microsoft.com/office/powerpoint/2010/main" val="23135445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4000">
        <p15:prstTrans prst="fracture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C4FEA7-7C87-4944-9F10-90A93FAA6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career in logistics</a:t>
            </a:r>
          </a:p>
        </p:txBody>
      </p:sp>
    </p:spTree>
    <p:extLst>
      <p:ext uri="{BB962C8B-B14F-4D97-AF65-F5344CB8AC3E}">
        <p14:creationId xmlns:p14="http://schemas.microsoft.com/office/powerpoint/2010/main" val="3886122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C80173-C401-465A-ADE1-3891498C0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 CAREER IN LOG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122118-43E9-43EB-A9F1-5D9985A9DE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Working in groups of 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62890B-0974-4B78-A649-B56239CC7D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/>
              <a:t>10 to 15 minut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82EB73-1F99-49CD-9D9E-0460A6A401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/>
              <a:t>In your group, for your assigned job role, define: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en-US" sz="2000"/>
              <a:t>What transferable skills and personality traits would be required? (TOP 3 of each)</a:t>
            </a:r>
          </a:p>
          <a:p>
            <a:pPr marL="342900" indent="-342900">
              <a:buFont typeface="Ink Free" panose="03080402000500000000" pitchFamily="66" charset="0"/>
              <a:buChar char="•"/>
            </a:pPr>
            <a:r>
              <a:rPr lang="en-US" sz="2000"/>
              <a:t>How do you think these add to success?</a:t>
            </a:r>
            <a:endParaRPr lang="nl-NL" sz="2000"/>
          </a:p>
        </p:txBody>
      </p:sp>
      <p:pic>
        <p:nvPicPr>
          <p:cNvPr id="9" name="Picture Placeholder 8" descr="A picture containing sky, smoke, fighter&#10;&#10;Description automatically generated">
            <a:extLst>
              <a:ext uri="{FF2B5EF4-FFF2-40B4-BE49-F238E27FC236}">
                <a16:creationId xmlns:a16="http://schemas.microsoft.com/office/drawing/2014/main" id="{F1A7C52F-D3EF-4487-BB71-1567CF571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0" r="2375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030855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9358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C2B079-AF08-4CCE-8B62-C3C73831C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WRAP UP</a:t>
            </a:r>
          </a:p>
        </p:txBody>
      </p:sp>
    </p:spTree>
    <p:extLst>
      <p:ext uri="{BB962C8B-B14F-4D97-AF65-F5344CB8AC3E}">
        <p14:creationId xmlns:p14="http://schemas.microsoft.com/office/powerpoint/2010/main" val="39893208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05191-D401-4B1F-A0FD-9DA8DF3EA3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400"/>
              <a:t>Explain in a broader context, the key requirements and elements for successful career develo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6CC01A-D8F6-4AE1-A79C-B9423066D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169" y="2932603"/>
            <a:ext cx="8003183" cy="914400"/>
          </a:xfrm>
        </p:spPr>
        <p:txBody>
          <a:bodyPr/>
          <a:lstStyle/>
          <a:p>
            <a:pPr marL="457200" indent="-457200">
              <a:buFont typeface="Ink Free" panose="03080402000500000000" pitchFamily="66" charset="0"/>
              <a:buChar char="•"/>
            </a:pPr>
            <a:r>
              <a:rPr lang="nl-NL"/>
              <a:t>Reflect on future career opportunities and the areas that require focus for building a career in a specific direction</a:t>
            </a:r>
            <a:endParaRPr lang="nl-NL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0A048D-D80F-4F76-9FB5-FE1C09E5CE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2168" y="4149335"/>
            <a:ext cx="8003183" cy="914400"/>
          </a:xfrm>
        </p:spPr>
        <p:txBody>
          <a:bodyPr/>
          <a:lstStyle/>
          <a:p>
            <a:pPr marL="342900" indent="-342900">
              <a:buFont typeface="Ink Free" panose="03080402000500000000" pitchFamily="66" charset="0"/>
              <a:buChar char="•"/>
            </a:pPr>
            <a:r>
              <a:rPr lang="nl-NL" sz="2400"/>
              <a:t>Explain the difference between Personality Traits and Transferable </a:t>
            </a:r>
            <a:r>
              <a:rPr lang="nl-NL"/>
              <a:t>S</a:t>
            </a:r>
            <a:r>
              <a:rPr lang="nl-NL" sz="2400"/>
              <a:t>kills and how these are important for specific job roles and career developmen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5F83B4-F8D0-15CF-379A-1884553436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170" y="5366068"/>
            <a:ext cx="8003183" cy="914400"/>
          </a:xfrm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58731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1C8CD2-FA6F-476D-A0C0-119ADFF1F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GROUNDRU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E92E2D1-B950-4E7C-AB98-B63DD7E4A4F9}"/>
              </a:ext>
            </a:extLst>
          </p:cNvPr>
          <p:cNvGrpSpPr/>
          <p:nvPr/>
        </p:nvGrpSpPr>
        <p:grpSpPr>
          <a:xfrm>
            <a:off x="4077869" y="1259238"/>
            <a:ext cx="6666331" cy="4339523"/>
            <a:chOff x="4077869" y="1259238"/>
            <a:chExt cx="6666331" cy="433952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40AD80F-C076-4973-B807-CC8F2D65FAF5}"/>
                </a:ext>
              </a:extLst>
            </p:cNvPr>
            <p:cNvGrpSpPr/>
            <p:nvPr/>
          </p:nvGrpSpPr>
          <p:grpSpPr>
            <a:xfrm>
              <a:off x="4077869" y="1259238"/>
              <a:ext cx="1849178" cy="1916899"/>
              <a:chOff x="8661422" y="1202334"/>
              <a:chExt cx="1649729" cy="1649729"/>
            </a:xfrm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1E34D171-7493-4946-8718-244ACEF81249}"/>
                  </a:ext>
                </a:extLst>
              </p:cNvPr>
              <p:cNvSpPr/>
              <p:nvPr/>
            </p:nvSpPr>
            <p:spPr bwMode="auto">
              <a:xfrm>
                <a:off x="8661422" y="1202334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B6976D2-9B3F-4522-BAD8-396E62AE9622}"/>
                  </a:ext>
                </a:extLst>
              </p:cNvPr>
              <p:cNvGrpSpPr/>
              <p:nvPr/>
            </p:nvGrpSpPr>
            <p:grpSpPr>
              <a:xfrm>
                <a:off x="9168377" y="1478728"/>
                <a:ext cx="615569" cy="1011080"/>
                <a:chOff x="6210063" y="1390499"/>
                <a:chExt cx="552451" cy="907407"/>
              </a:xfrm>
            </p:grpSpPr>
            <p:sp>
              <p:nvSpPr>
                <p:cNvPr id="18" name="Rounded Rectangle 16">
                  <a:extLst>
                    <a:ext uri="{FF2B5EF4-FFF2-40B4-BE49-F238E27FC236}">
                      <a16:creationId xmlns:a16="http://schemas.microsoft.com/office/drawing/2014/main" id="{8C5D45F9-0C85-4980-B286-B154C8D01395}"/>
                    </a:ext>
                  </a:extLst>
                </p:cNvPr>
                <p:cNvSpPr/>
                <p:nvPr/>
              </p:nvSpPr>
              <p:spPr bwMode="auto">
                <a:xfrm>
                  <a:off x="6210063" y="1390499"/>
                  <a:ext cx="552451" cy="907407"/>
                </a:xfrm>
                <a:prstGeom prst="roundRect">
                  <a:avLst>
                    <a:gd name="adj" fmla="val 8477"/>
                  </a:avLst>
                </a:prstGeom>
                <a:solidFill>
                  <a:srgbClr val="666666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871D73BC-87E5-4AD6-8B13-94438DCF2CBB}"/>
                    </a:ext>
                  </a:extLst>
                </p:cNvPr>
                <p:cNvSpPr/>
                <p:nvPr/>
              </p:nvSpPr>
              <p:spPr bwMode="auto">
                <a:xfrm>
                  <a:off x="6255307" y="1434432"/>
                  <a:ext cx="461962" cy="757442"/>
                </a:xfrm>
                <a:prstGeom prst="rect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2CE2AE64-C546-425B-B0E7-22188370B6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447237" y="2205839"/>
                  <a:ext cx="78101" cy="7810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6000" tIns="48000" rIns="48000" bIns="4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327117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/>
                </a:p>
              </p:txBody>
            </p:sp>
          </p:grpSp>
          <p:sp>
            <p:nvSpPr>
              <p:cNvPr id="17" name="Rounded Rectangle 15">
                <a:extLst>
                  <a:ext uri="{FF2B5EF4-FFF2-40B4-BE49-F238E27FC236}">
                    <a16:creationId xmlns:a16="http://schemas.microsoft.com/office/drawing/2014/main" id="{C33CE444-B541-40C3-BBD3-0100FB626825}"/>
                  </a:ext>
                </a:extLst>
              </p:cNvPr>
              <p:cNvSpPr/>
              <p:nvPr/>
            </p:nvSpPr>
            <p:spPr bwMode="auto">
              <a:xfrm rot="19050173">
                <a:off x="8750658" y="1889859"/>
                <a:ext cx="1439333" cy="93627"/>
              </a:xfrm>
              <a:prstGeom prst="roundRect">
                <a:avLst/>
              </a:prstGeom>
              <a:solidFill>
                <a:srgbClr val="666666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05B6D7-8B88-4ED6-9440-7A11839ED3AE}"/>
                </a:ext>
              </a:extLst>
            </p:cNvPr>
            <p:cNvGrpSpPr/>
            <p:nvPr/>
          </p:nvGrpSpPr>
          <p:grpSpPr>
            <a:xfrm>
              <a:off x="8895022" y="3681862"/>
              <a:ext cx="1849178" cy="1916899"/>
              <a:chOff x="8622237" y="3779104"/>
              <a:chExt cx="1649729" cy="1649729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6830A36F-1663-4B48-B1D9-B8C3D1EB8D9E}"/>
                  </a:ext>
                </a:extLst>
              </p:cNvPr>
              <p:cNvSpPr/>
              <p:nvPr/>
            </p:nvSpPr>
            <p:spPr bwMode="auto">
              <a:xfrm>
                <a:off x="8622237" y="3779104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29" name="Picture 12" descr="C:\Users\hageliss\AppData\Local\Temp\1\SNAGHTML2142b5a.PNG">
                <a:extLst>
                  <a:ext uri="{FF2B5EF4-FFF2-40B4-BE49-F238E27FC236}">
                    <a16:creationId xmlns:a16="http://schemas.microsoft.com/office/drawing/2014/main" id="{1D877FC8-AF0C-4F0C-8F9F-A5B10B737F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02803" y="3890994"/>
                <a:ext cx="1488595" cy="14006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3876A19-DFC0-4A4A-8743-9850641D92D8}"/>
                </a:ext>
              </a:extLst>
            </p:cNvPr>
            <p:cNvGrpSpPr/>
            <p:nvPr/>
          </p:nvGrpSpPr>
          <p:grpSpPr>
            <a:xfrm>
              <a:off x="6510950" y="3546316"/>
              <a:ext cx="1849178" cy="2052445"/>
              <a:chOff x="3417578" y="4309971"/>
              <a:chExt cx="1649729" cy="1766383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3F8D0AFC-3CD0-4BE4-9B04-0962E85641F7}"/>
                  </a:ext>
                </a:extLst>
              </p:cNvPr>
              <p:cNvSpPr/>
              <p:nvPr/>
            </p:nvSpPr>
            <p:spPr bwMode="auto">
              <a:xfrm>
                <a:off x="3417578" y="4426625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02309FE-D811-4CF7-8ABF-9CE6D5601360}"/>
                  </a:ext>
                </a:extLst>
              </p:cNvPr>
              <p:cNvSpPr txBox="1"/>
              <p:nvPr/>
            </p:nvSpPr>
            <p:spPr>
              <a:xfrm>
                <a:off x="3467599" y="4309971"/>
                <a:ext cx="1395536" cy="16867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l-NL" sz="13800" b="1">
                    <a:solidFill>
                      <a:schemeClr val="bg1"/>
                    </a:solidFill>
                    <a:latin typeface="Delivery" panose="020F0503020204020204" pitchFamily="34" charset="0"/>
                    <a:ea typeface="Delivery" panose="020F0503020204020204" pitchFamily="34" charset="0"/>
                    <a:cs typeface="Delivery" panose="020F0503020204020204" pitchFamily="34" charset="0"/>
                  </a:rPr>
                  <a:t>?</a:t>
                </a:r>
                <a:r>
                  <a:rPr lang="nl-NL" sz="13800" b="1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ea typeface="Delivery" panose="020F0503020204020204" pitchFamily="34" charset="0"/>
                    <a:cs typeface="Delivery" panose="020F0503020204020204" pitchFamily="34" charset="0"/>
                  </a:rPr>
                  <a:t>!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9C5672D-ED68-4BFC-ABB7-F49966619428}"/>
                </a:ext>
              </a:extLst>
            </p:cNvPr>
            <p:cNvGrpSpPr/>
            <p:nvPr/>
          </p:nvGrpSpPr>
          <p:grpSpPr>
            <a:xfrm>
              <a:off x="4077869" y="3681861"/>
              <a:ext cx="1849178" cy="1916899"/>
              <a:chOff x="5544507" y="2203303"/>
              <a:chExt cx="1649729" cy="1649729"/>
            </a:xfrm>
          </p:grpSpPr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B56DB980-6D86-4336-ADCB-5BCA9695E44C}"/>
                  </a:ext>
                </a:extLst>
              </p:cNvPr>
              <p:cNvSpPr/>
              <p:nvPr/>
            </p:nvSpPr>
            <p:spPr bwMode="auto">
              <a:xfrm>
                <a:off x="5544507" y="2203303"/>
                <a:ext cx="1649729" cy="1649729"/>
              </a:xfrm>
              <a:prstGeom prst="roundRect">
                <a:avLst>
                  <a:gd name="adj" fmla="val 13980"/>
                </a:avLst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6A787EBE-B5F9-447F-A918-E568C62392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2161" y="2425170"/>
                <a:ext cx="1054420" cy="12059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CD76AB5-AF84-4C33-BC28-EE60927E2C03}"/>
                </a:ext>
              </a:extLst>
            </p:cNvPr>
            <p:cNvGrpSpPr/>
            <p:nvPr/>
          </p:nvGrpSpPr>
          <p:grpSpPr>
            <a:xfrm>
              <a:off x="6546053" y="1270192"/>
              <a:ext cx="1849178" cy="1916899"/>
              <a:chOff x="3670567" y="2378793"/>
              <a:chExt cx="1649729" cy="1649729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D59288E8-0B1F-457C-AD78-7A316A770DFD}"/>
                  </a:ext>
                </a:extLst>
              </p:cNvPr>
              <p:cNvSpPr/>
              <p:nvPr/>
            </p:nvSpPr>
            <p:spPr bwMode="auto">
              <a:xfrm>
                <a:off x="3670567" y="2378793"/>
                <a:ext cx="1649729" cy="164972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6EDBF8EB-587B-4AA6-9BAE-1208470540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06053" y="2605916"/>
                <a:ext cx="1178755" cy="11766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64381F4-DBEC-4B15-91D7-37598D451777}"/>
                </a:ext>
              </a:extLst>
            </p:cNvPr>
            <p:cNvGrpSpPr/>
            <p:nvPr/>
          </p:nvGrpSpPr>
          <p:grpSpPr>
            <a:xfrm>
              <a:off x="8895020" y="1270191"/>
              <a:ext cx="1849178" cy="1916899"/>
              <a:chOff x="8895020" y="1270191"/>
              <a:chExt cx="1849178" cy="1916899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0515969F-96C9-4D62-8FC3-57504325E30D}"/>
                  </a:ext>
                </a:extLst>
              </p:cNvPr>
              <p:cNvSpPr/>
              <p:nvPr/>
            </p:nvSpPr>
            <p:spPr bwMode="auto">
              <a:xfrm>
                <a:off x="8895020" y="1270191"/>
                <a:ext cx="1849178" cy="1916899"/>
              </a:xfrm>
              <a:prstGeom prst="roundRect">
                <a:avLst/>
              </a:prstGeom>
              <a:solidFill>
                <a:srgbClr val="FFCC0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6000" tIns="48000" rIns="48000" bIns="4800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3271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/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1BFC7854-A838-4D70-9795-9D45D93D11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12409" y="1490980"/>
                <a:ext cx="1452194" cy="14521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7703539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80113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4E5AB-69A9-4FCA-A1C7-16546E126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1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7C8D67D4-7C79-44F4-BD63-EADF8434068B}"/>
              </a:ext>
            </a:extLst>
          </p:cNvPr>
          <p:cNvSpPr/>
          <p:nvPr/>
        </p:nvSpPr>
        <p:spPr bwMode="auto">
          <a:xfrm>
            <a:off x="819156" y="3143053"/>
            <a:ext cx="9088216" cy="1678119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227A76-461D-4895-8FA0-4096201066F7}"/>
              </a:ext>
            </a:extLst>
          </p:cNvPr>
          <p:cNvGrpSpPr/>
          <p:nvPr/>
        </p:nvGrpSpPr>
        <p:grpSpPr>
          <a:xfrm>
            <a:off x="648727" y="4729624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5812D29C-BACE-4750-9A62-F9E83287DE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16C4CBF-2C55-4A4C-885D-7C57DC5F46C7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1E3A353-125B-47F3-BDE8-D3BAE629349F}"/>
              </a:ext>
            </a:extLst>
          </p:cNvPr>
          <p:cNvSpPr/>
          <p:nvPr/>
        </p:nvSpPr>
        <p:spPr>
          <a:xfrm>
            <a:off x="661773" y="47354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A220CFA-9F10-4E69-8B1C-7169A24F3131}"/>
              </a:ext>
            </a:extLst>
          </p:cNvPr>
          <p:cNvSpPr/>
          <p:nvPr/>
        </p:nvSpPr>
        <p:spPr>
          <a:xfrm>
            <a:off x="661773" y="2361136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0A3F23B-E7E5-4416-BD38-5741B19F11F2}"/>
              </a:ext>
            </a:extLst>
          </p:cNvPr>
          <p:cNvSpPr/>
          <p:nvPr/>
        </p:nvSpPr>
        <p:spPr>
          <a:xfrm>
            <a:off x="661773" y="3541368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E4C8E1B1-827D-4A7F-9FBA-06E709AFBA66}"/>
              </a:ext>
            </a:extLst>
          </p:cNvPr>
          <p:cNvSpPr txBox="1"/>
          <p:nvPr/>
        </p:nvSpPr>
        <p:spPr>
          <a:xfrm>
            <a:off x="880787" y="1266274"/>
            <a:ext cx="7559487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at would be a good way to learn about and close any existing gaps in your traits and skills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4DFE5C-09F9-4DE8-91E6-DBA20ED60577}"/>
              </a:ext>
            </a:extLst>
          </p:cNvPr>
          <p:cNvSpPr/>
          <p:nvPr/>
        </p:nvSpPr>
        <p:spPr>
          <a:xfrm>
            <a:off x="901036" y="491438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57B60F2-7B1B-4B19-A9ED-7345F3EF8BD7}"/>
              </a:ext>
            </a:extLst>
          </p:cNvPr>
          <p:cNvSpPr/>
          <p:nvPr/>
        </p:nvSpPr>
        <p:spPr>
          <a:xfrm>
            <a:off x="1642853" y="5015387"/>
            <a:ext cx="8264519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Remain open to feedback and make changes where necessar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F8398B-9F7C-4009-B4EF-6755FFE30804}"/>
              </a:ext>
            </a:extLst>
          </p:cNvPr>
          <p:cNvSpPr/>
          <p:nvPr/>
        </p:nvSpPr>
        <p:spPr>
          <a:xfrm>
            <a:off x="901036" y="2489624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C2C265-4BB5-4B08-88AE-87608CD2D456}"/>
              </a:ext>
            </a:extLst>
          </p:cNvPr>
          <p:cNvSpPr/>
          <p:nvPr/>
        </p:nvSpPr>
        <p:spPr>
          <a:xfrm>
            <a:off x="1642853" y="2473190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Keep doing what you always did as so far this seemed to work effectivel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CC3CB-75DB-4D68-8992-8C770B50C320}"/>
              </a:ext>
            </a:extLst>
          </p:cNvPr>
          <p:cNvSpPr/>
          <p:nvPr/>
        </p:nvSpPr>
        <p:spPr>
          <a:xfrm>
            <a:off x="880787" y="372716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17B54E-4E4A-4836-927C-0E72B871F080}"/>
              </a:ext>
            </a:extLst>
          </p:cNvPr>
          <p:cNvSpPr/>
          <p:nvPr/>
        </p:nvSpPr>
        <p:spPr>
          <a:xfrm>
            <a:off x="1642853" y="3640154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Observe other people critically and do as they do, copying their behavior</a:t>
            </a:r>
          </a:p>
        </p:txBody>
      </p:sp>
    </p:spTree>
    <p:extLst>
      <p:ext uri="{BB962C8B-B14F-4D97-AF65-F5344CB8AC3E}">
        <p14:creationId xmlns:p14="http://schemas.microsoft.com/office/powerpoint/2010/main" val="3339699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4E5AB-69A9-4FCA-A1C7-16546E126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2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8D982C9D-E553-4541-82C8-A7FCF32EEAE0}"/>
              </a:ext>
            </a:extLst>
          </p:cNvPr>
          <p:cNvSpPr/>
          <p:nvPr/>
        </p:nvSpPr>
        <p:spPr bwMode="auto">
          <a:xfrm>
            <a:off x="819156" y="3143053"/>
            <a:ext cx="9088216" cy="1678119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2DC612C-0D74-4EC8-8AB3-B33F4900FFB2}"/>
              </a:ext>
            </a:extLst>
          </p:cNvPr>
          <p:cNvGrpSpPr/>
          <p:nvPr/>
        </p:nvGrpSpPr>
        <p:grpSpPr>
          <a:xfrm>
            <a:off x="648727" y="2365115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8E70C2E9-275A-4716-B9DE-9D45F34593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78E61A8-6705-4739-B08B-941DFB48D92B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2E302BF-7684-4CDC-A7D5-D19C1023B6E3}"/>
              </a:ext>
            </a:extLst>
          </p:cNvPr>
          <p:cNvSpPr/>
          <p:nvPr/>
        </p:nvSpPr>
        <p:spPr>
          <a:xfrm>
            <a:off x="661773" y="47354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D5950BB-21CB-49DF-A2A9-539FD2E16344}"/>
              </a:ext>
            </a:extLst>
          </p:cNvPr>
          <p:cNvSpPr/>
          <p:nvPr/>
        </p:nvSpPr>
        <p:spPr>
          <a:xfrm>
            <a:off x="661773" y="2361136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B4AA57-9495-4C7E-8861-3B5AC1DCE75D}"/>
              </a:ext>
            </a:extLst>
          </p:cNvPr>
          <p:cNvSpPr/>
          <p:nvPr/>
        </p:nvSpPr>
        <p:spPr>
          <a:xfrm>
            <a:off x="661773" y="3541368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FB34973D-C177-4C42-B002-5984D6231036}"/>
              </a:ext>
            </a:extLst>
          </p:cNvPr>
          <p:cNvSpPr txBox="1"/>
          <p:nvPr/>
        </p:nvSpPr>
        <p:spPr>
          <a:xfrm>
            <a:off x="880787" y="1199589"/>
            <a:ext cx="7439414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ich of the following would be considered good for career development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5AF9E6-8AEB-4524-B7F8-1D9D1EBBE033}"/>
              </a:ext>
            </a:extLst>
          </p:cNvPr>
          <p:cNvSpPr/>
          <p:nvPr/>
        </p:nvSpPr>
        <p:spPr>
          <a:xfrm>
            <a:off x="901036" y="491438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8BEE43D-53E1-42BF-BD3B-29E0220569BF}"/>
              </a:ext>
            </a:extLst>
          </p:cNvPr>
          <p:cNvSpPr/>
          <p:nvPr/>
        </p:nvSpPr>
        <p:spPr>
          <a:xfrm>
            <a:off x="1642853" y="4830721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e critical using ‘yeah … but’ thoughts and ensure you only develop in the areas you know you’re good a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FE137E-AC51-4457-8118-D3DE005686ED}"/>
              </a:ext>
            </a:extLst>
          </p:cNvPr>
          <p:cNvSpPr/>
          <p:nvPr/>
        </p:nvSpPr>
        <p:spPr>
          <a:xfrm>
            <a:off x="901036" y="2489624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34529E-D983-4181-98CF-32143EE2171F}"/>
              </a:ext>
            </a:extLst>
          </p:cNvPr>
          <p:cNvSpPr/>
          <p:nvPr/>
        </p:nvSpPr>
        <p:spPr>
          <a:xfrm>
            <a:off x="1642853" y="2473190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Remain open to change, identify your talents and embrace your strengths but also your weakness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FBFD1E-7F7C-4925-8DBF-78F9D6383B7A}"/>
              </a:ext>
            </a:extLst>
          </p:cNvPr>
          <p:cNvSpPr/>
          <p:nvPr/>
        </p:nvSpPr>
        <p:spPr>
          <a:xfrm>
            <a:off x="880787" y="372716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2C1241-09FC-440B-B5D9-B8B781CF4E18}"/>
              </a:ext>
            </a:extLst>
          </p:cNvPr>
          <p:cNvSpPr/>
          <p:nvPr/>
        </p:nvSpPr>
        <p:spPr>
          <a:xfrm>
            <a:off x="1642853" y="3640154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void taking risk, think short term and wait for opportunities to present themselves</a:t>
            </a:r>
          </a:p>
        </p:txBody>
      </p:sp>
    </p:spTree>
    <p:extLst>
      <p:ext uri="{BB962C8B-B14F-4D97-AF65-F5344CB8AC3E}">
        <p14:creationId xmlns:p14="http://schemas.microsoft.com/office/powerpoint/2010/main" val="2432060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4E5AB-69A9-4FCA-A1C7-16546E126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3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9B178829-162C-4202-A4EE-8F3F78044F24}"/>
              </a:ext>
            </a:extLst>
          </p:cNvPr>
          <p:cNvSpPr/>
          <p:nvPr/>
        </p:nvSpPr>
        <p:spPr bwMode="auto">
          <a:xfrm>
            <a:off x="819156" y="3143053"/>
            <a:ext cx="9088216" cy="1678119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B7BF96-E13F-47FF-BD23-028958261BC9}"/>
              </a:ext>
            </a:extLst>
          </p:cNvPr>
          <p:cNvGrpSpPr/>
          <p:nvPr/>
        </p:nvGrpSpPr>
        <p:grpSpPr>
          <a:xfrm>
            <a:off x="710136" y="4754514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06F65C60-7960-4A4F-BF43-EEBC0E263D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82935FE-E5D3-4FBD-A4E6-25B7ACADF8C4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E63AF04-E822-46F6-8A39-39EA6DA01048}"/>
              </a:ext>
            </a:extLst>
          </p:cNvPr>
          <p:cNvSpPr/>
          <p:nvPr/>
        </p:nvSpPr>
        <p:spPr>
          <a:xfrm>
            <a:off x="661773" y="47354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AA05994-03D9-470C-BD7F-4EC2FD791F88}"/>
              </a:ext>
            </a:extLst>
          </p:cNvPr>
          <p:cNvSpPr/>
          <p:nvPr/>
        </p:nvSpPr>
        <p:spPr>
          <a:xfrm>
            <a:off x="661773" y="2361136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8AF55D-5DBB-492B-8C7D-F44549F0E23C}"/>
              </a:ext>
            </a:extLst>
          </p:cNvPr>
          <p:cNvSpPr/>
          <p:nvPr/>
        </p:nvSpPr>
        <p:spPr>
          <a:xfrm>
            <a:off x="661773" y="3541368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BF54EA56-307F-4F81-83A2-239808D01350}"/>
              </a:ext>
            </a:extLst>
          </p:cNvPr>
          <p:cNvSpPr txBox="1"/>
          <p:nvPr/>
        </p:nvSpPr>
        <p:spPr>
          <a:xfrm>
            <a:off x="893475" y="1253006"/>
            <a:ext cx="9088216" cy="8874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How would you define a personality trait?</a:t>
            </a:r>
          </a:p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 personality trait ...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D3C9DE-C474-47B7-9535-3404BD3EC0DF}"/>
              </a:ext>
            </a:extLst>
          </p:cNvPr>
          <p:cNvSpPr/>
          <p:nvPr/>
        </p:nvSpPr>
        <p:spPr>
          <a:xfrm>
            <a:off x="901036" y="491438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B33E72-83EF-422C-95B9-155D8A054FB2}"/>
              </a:ext>
            </a:extLst>
          </p:cNvPr>
          <p:cNvSpPr/>
          <p:nvPr/>
        </p:nvSpPr>
        <p:spPr>
          <a:xfrm>
            <a:off x="901036" y="2489624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68CC77-1AB6-47D9-AFEC-ECBEE5B612AA}"/>
              </a:ext>
            </a:extLst>
          </p:cNvPr>
          <p:cNvSpPr/>
          <p:nvPr/>
        </p:nvSpPr>
        <p:spPr>
          <a:xfrm>
            <a:off x="1642853" y="2473190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… relates to learnt abilities that can help you at work or in life in various situa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C7BE91-6DD6-4D8F-9252-1503EB899423}"/>
              </a:ext>
            </a:extLst>
          </p:cNvPr>
          <p:cNvSpPr/>
          <p:nvPr/>
        </p:nvSpPr>
        <p:spPr>
          <a:xfrm>
            <a:off x="880787" y="372716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70B9E3-C7CC-4941-9E80-047162758C33}"/>
              </a:ext>
            </a:extLst>
          </p:cNvPr>
          <p:cNvSpPr/>
          <p:nvPr/>
        </p:nvSpPr>
        <p:spPr>
          <a:xfrm>
            <a:off x="1642853" y="3640154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… relates to how you deal with other people in different circumstances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2ABE9A-4A5C-7AA6-4874-441CB05B7202}"/>
              </a:ext>
            </a:extLst>
          </p:cNvPr>
          <p:cNvSpPr/>
          <p:nvPr/>
        </p:nvSpPr>
        <p:spPr>
          <a:xfrm>
            <a:off x="1580767" y="4828270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… relates to your character: how you are, and the behavior related to it</a:t>
            </a:r>
          </a:p>
        </p:txBody>
      </p:sp>
    </p:spTree>
    <p:extLst>
      <p:ext uri="{BB962C8B-B14F-4D97-AF65-F5344CB8AC3E}">
        <p14:creationId xmlns:p14="http://schemas.microsoft.com/office/powerpoint/2010/main" val="2522071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4E5AB-69A9-4FCA-A1C7-16546E126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4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1610E612-7315-441A-B134-6A765C1FBAA8}"/>
              </a:ext>
            </a:extLst>
          </p:cNvPr>
          <p:cNvSpPr/>
          <p:nvPr/>
        </p:nvSpPr>
        <p:spPr bwMode="auto">
          <a:xfrm>
            <a:off x="819156" y="3143053"/>
            <a:ext cx="9088216" cy="1678119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C21805-0656-43EE-B48C-B2E1446F42C0}"/>
              </a:ext>
            </a:extLst>
          </p:cNvPr>
          <p:cNvGrpSpPr/>
          <p:nvPr/>
        </p:nvGrpSpPr>
        <p:grpSpPr>
          <a:xfrm>
            <a:off x="648727" y="3538135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D8D6F123-1E08-4778-B96A-5A92C7BFEA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D4C023F-807C-47EE-A5B3-95041EA20481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6FF398-76FC-4E59-935F-0310D1150725}"/>
              </a:ext>
            </a:extLst>
          </p:cNvPr>
          <p:cNvSpPr/>
          <p:nvPr/>
        </p:nvSpPr>
        <p:spPr>
          <a:xfrm>
            <a:off x="661773" y="47354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EBA4C9B-E377-4F5B-9B77-DE9A59A7B2D9}"/>
              </a:ext>
            </a:extLst>
          </p:cNvPr>
          <p:cNvSpPr/>
          <p:nvPr/>
        </p:nvSpPr>
        <p:spPr>
          <a:xfrm>
            <a:off x="661773" y="2361136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298D0C0-B2A1-4710-A32D-C3BD0E61D521}"/>
              </a:ext>
            </a:extLst>
          </p:cNvPr>
          <p:cNvSpPr/>
          <p:nvPr/>
        </p:nvSpPr>
        <p:spPr>
          <a:xfrm>
            <a:off x="661773" y="3541368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D301BF46-A630-4BFB-91DC-137B0F5F3BE6}"/>
              </a:ext>
            </a:extLst>
          </p:cNvPr>
          <p:cNvSpPr txBox="1"/>
          <p:nvPr/>
        </p:nvSpPr>
        <p:spPr>
          <a:xfrm>
            <a:off x="880787" y="1232610"/>
            <a:ext cx="75225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at are some good examples of transferable skills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55A5D5-5B41-4F09-B01D-53D58DE055A7}"/>
              </a:ext>
            </a:extLst>
          </p:cNvPr>
          <p:cNvSpPr/>
          <p:nvPr/>
        </p:nvSpPr>
        <p:spPr>
          <a:xfrm>
            <a:off x="901036" y="491438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F41E8F-F849-4E85-9836-85C1DDCB6755}"/>
              </a:ext>
            </a:extLst>
          </p:cNvPr>
          <p:cNvSpPr/>
          <p:nvPr/>
        </p:nvSpPr>
        <p:spPr>
          <a:xfrm>
            <a:off x="1642853" y="5015387"/>
            <a:ext cx="8264519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Optimism, Honesty, Responsibility, Helpful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1199DE-1FCA-491D-A9F0-28188EC75599}"/>
              </a:ext>
            </a:extLst>
          </p:cNvPr>
          <p:cNvSpPr/>
          <p:nvPr/>
        </p:nvSpPr>
        <p:spPr>
          <a:xfrm>
            <a:off x="901036" y="2489624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8268E-9E97-4345-98B7-8D1B68F1DBF5}"/>
              </a:ext>
            </a:extLst>
          </p:cNvPr>
          <p:cNvSpPr/>
          <p:nvPr/>
        </p:nvSpPr>
        <p:spPr>
          <a:xfrm>
            <a:off x="1642853" y="2657856"/>
            <a:ext cx="8264519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rrogance, Impatience, Laziness, Disrespec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BC4F26-8A10-4A62-8322-E8D6C783031B}"/>
              </a:ext>
            </a:extLst>
          </p:cNvPr>
          <p:cNvSpPr/>
          <p:nvPr/>
        </p:nvSpPr>
        <p:spPr>
          <a:xfrm>
            <a:off x="880787" y="372716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52ECBF-3E03-4476-8EF8-514CE634193C}"/>
              </a:ext>
            </a:extLst>
          </p:cNvPr>
          <p:cNvSpPr/>
          <p:nvPr/>
        </p:nvSpPr>
        <p:spPr>
          <a:xfrm>
            <a:off x="1642853" y="3824820"/>
            <a:ext cx="8264519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Teamwork, Flexibility, Critical Thinking, Adaptability</a:t>
            </a:r>
          </a:p>
        </p:txBody>
      </p:sp>
    </p:spTree>
    <p:extLst>
      <p:ext uri="{BB962C8B-B14F-4D97-AF65-F5344CB8AC3E}">
        <p14:creationId xmlns:p14="http://schemas.microsoft.com/office/powerpoint/2010/main" val="2062961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4E5AB-69A9-4FCA-A1C7-16546E126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QUESTION 5</a:t>
            </a:r>
          </a:p>
        </p:txBody>
      </p:sp>
      <p:sp>
        <p:nvSpPr>
          <p:cNvPr id="4" name="Timer bar">
            <a:extLst>
              <a:ext uri="{FF2B5EF4-FFF2-40B4-BE49-F238E27FC236}">
                <a16:creationId xmlns:a16="http://schemas.microsoft.com/office/drawing/2014/main" id="{CC5F0068-2F27-4DE9-AC23-AA3A28336012}"/>
              </a:ext>
            </a:extLst>
          </p:cNvPr>
          <p:cNvSpPr/>
          <p:nvPr/>
        </p:nvSpPr>
        <p:spPr bwMode="auto">
          <a:xfrm>
            <a:off x="819156" y="3143053"/>
            <a:ext cx="9088216" cy="1678119"/>
          </a:xfrm>
          <a:prstGeom prst="rect">
            <a:avLst/>
          </a:prstGeom>
          <a:gradFill flip="none" rotWithShape="1">
            <a:gsLst>
              <a:gs pos="0">
                <a:srgbClr val="008000"/>
              </a:gs>
              <a:gs pos="64000">
                <a:srgbClr val="FFCC00"/>
              </a:gs>
              <a:gs pos="33000">
                <a:srgbClr val="FFCC00"/>
              </a:gs>
              <a:gs pos="100000">
                <a:srgbClr val="C00000"/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1035E0E-23BF-4005-B08B-75D0378D04AF}"/>
              </a:ext>
            </a:extLst>
          </p:cNvPr>
          <p:cNvGrpSpPr/>
          <p:nvPr/>
        </p:nvGrpSpPr>
        <p:grpSpPr>
          <a:xfrm>
            <a:off x="648727" y="2355879"/>
            <a:ext cx="10615768" cy="1079495"/>
            <a:chOff x="415051" y="-1055547"/>
            <a:chExt cx="10615768" cy="1079495"/>
          </a:xfrm>
        </p:grpSpPr>
        <p:pic>
          <p:nvPicPr>
            <p:cNvPr id="6" name="Picture 2" descr="C:\Users\hageliss\AppData\Local\Temp\1\SNAGHTML79356b.PNG">
              <a:extLst>
                <a:ext uri="{FF2B5EF4-FFF2-40B4-BE49-F238E27FC236}">
                  <a16:creationId xmlns:a16="http://schemas.microsoft.com/office/drawing/2014/main" id="{344EC8AA-F590-435A-AA89-78F1E53BC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1622" y="-993834"/>
              <a:ext cx="969197" cy="88671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27F186D-7F3B-40AF-8059-443A5875E4D8}"/>
                </a:ext>
              </a:extLst>
            </p:cNvPr>
            <p:cNvSpPr/>
            <p:nvPr/>
          </p:nvSpPr>
          <p:spPr>
            <a:xfrm>
              <a:off x="415051" y="-1055547"/>
              <a:ext cx="9417987" cy="107949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glow rad="215900">
                <a:srgbClr val="FFC000">
                  <a:alpha val="73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rgbClr val="FFC000"/>
                  </a:solidFill>
                  <a:effectLst>
                    <a:glow rad="2286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Caveat" panose="00000500000000000000" pitchFamily="2" charset="0"/>
                </a:rPr>
                <a:t> 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487D737-87BD-44BE-AAF8-5CE1218AFFA4}"/>
              </a:ext>
            </a:extLst>
          </p:cNvPr>
          <p:cNvSpPr/>
          <p:nvPr/>
        </p:nvSpPr>
        <p:spPr>
          <a:xfrm>
            <a:off x="661773" y="4735400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128C7B8-DF54-412F-9451-0B8F9D6FE189}"/>
              </a:ext>
            </a:extLst>
          </p:cNvPr>
          <p:cNvSpPr/>
          <p:nvPr/>
        </p:nvSpPr>
        <p:spPr>
          <a:xfrm>
            <a:off x="661773" y="2361136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BBA4144-B6F2-413E-B645-40F2F25E653F}"/>
              </a:ext>
            </a:extLst>
          </p:cNvPr>
          <p:cNvSpPr/>
          <p:nvPr/>
        </p:nvSpPr>
        <p:spPr>
          <a:xfrm>
            <a:off x="661773" y="3541368"/>
            <a:ext cx="9417987" cy="1073719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alpha val="37000"/>
              </a:scheme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/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007121F6-C7C9-465F-AF81-51FB40B8F7B2}"/>
              </a:ext>
            </a:extLst>
          </p:cNvPr>
          <p:cNvSpPr txBox="1"/>
          <p:nvPr/>
        </p:nvSpPr>
        <p:spPr>
          <a:xfrm>
            <a:off x="819156" y="894248"/>
            <a:ext cx="7334244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de-DE"/>
            </a:defPPr>
            <a:lvl1pPr marL="12700">
              <a:spcBef>
                <a:spcPts val="100"/>
              </a:spcBef>
              <a:tabLst>
                <a:tab pos="469265" algn="l"/>
              </a:tabLst>
              <a:defRPr sz="3200" b="1"/>
            </a:lvl1pPr>
          </a:lstStyle>
          <a:p>
            <a:r>
              <a:rPr lang="nl-NL" sz="2800">
                <a:solidFill>
                  <a:srgbClr val="000000"/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n relation to career development, why would it be important to know about your personality traits and transferable skills?</a:t>
            </a:r>
            <a:endParaRPr lang="en-US" sz="2800"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3951CE-3974-413D-9939-0F1E29341CD8}"/>
              </a:ext>
            </a:extLst>
          </p:cNvPr>
          <p:cNvSpPr/>
          <p:nvPr/>
        </p:nvSpPr>
        <p:spPr>
          <a:xfrm>
            <a:off x="901036" y="491438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C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B28667-6D33-47DE-85FA-1D79F2EDEB1E}"/>
              </a:ext>
            </a:extLst>
          </p:cNvPr>
          <p:cNvSpPr/>
          <p:nvPr/>
        </p:nvSpPr>
        <p:spPr>
          <a:xfrm>
            <a:off x="1642853" y="4830721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If you know about these, you can use that against other people, which is in your advant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865924-64C8-4C5A-8B83-90B3EE39A26C}"/>
              </a:ext>
            </a:extLst>
          </p:cNvPr>
          <p:cNvSpPr/>
          <p:nvPr/>
        </p:nvSpPr>
        <p:spPr>
          <a:xfrm>
            <a:off x="901036" y="2489624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A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017E8E3-E5B8-4CEA-8CFE-FF48A07FB23C}"/>
              </a:ext>
            </a:extLst>
          </p:cNvPr>
          <p:cNvSpPr/>
          <p:nvPr/>
        </p:nvSpPr>
        <p:spPr>
          <a:xfrm>
            <a:off x="1642853" y="2473190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When applying for a job, that is what potential employers want to know about: what do you bring to their business!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7DA2B9-BD29-4D86-B794-E2E237120132}"/>
              </a:ext>
            </a:extLst>
          </p:cNvPr>
          <p:cNvSpPr/>
          <p:nvPr/>
        </p:nvSpPr>
        <p:spPr>
          <a:xfrm>
            <a:off x="880787" y="3727167"/>
            <a:ext cx="4511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spc="-295">
                <a:solidFill>
                  <a:schemeClr val="tx1">
                    <a:lumMod val="95000"/>
                    <a:lumOff val="5000"/>
                  </a:schemeClr>
                </a:solidFill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B</a:t>
            </a:r>
            <a:endParaRPr lang="en-US" sz="4400" b="1">
              <a:solidFill>
                <a:schemeClr val="tx1">
                  <a:lumMod val="95000"/>
                  <a:lumOff val="5000"/>
                </a:schemeClr>
              </a:solidFill>
              <a:latin typeface="Ink Free" panose="03080402000500000000" pitchFamily="66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9115E7-61FA-4DEA-9055-8862A0465A0F}"/>
              </a:ext>
            </a:extLst>
          </p:cNvPr>
          <p:cNvSpPr/>
          <p:nvPr/>
        </p:nvSpPr>
        <p:spPr>
          <a:xfrm>
            <a:off x="1642853" y="3640154"/>
            <a:ext cx="826451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40640"/>
            <a:r>
              <a:rPr lang="en-US" sz="2400">
                <a:latin typeface="Ink Free" panose="03080402000500000000" pitchFamily="66" charset="0"/>
                <a:ea typeface="Delivery" panose="020F0503020204020204" pitchFamily="34" charset="0"/>
                <a:cs typeface="Delivery" panose="020F0503020204020204" pitchFamily="34" charset="0"/>
              </a:rPr>
              <a:t>Knowing about this, you will also know that you are on the right track and no change is needed</a:t>
            </a:r>
          </a:p>
        </p:txBody>
      </p:sp>
    </p:spTree>
    <p:extLst>
      <p:ext uri="{BB962C8B-B14F-4D97-AF65-F5344CB8AC3E}">
        <p14:creationId xmlns:p14="http://schemas.microsoft.com/office/powerpoint/2010/main" val="57680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897892-55D6-47B6-9D24-864AC7DDD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ONE WORD ... ONE SENTENC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928B62C-2EAE-462E-BD7B-B60E65108561}"/>
              </a:ext>
            </a:extLst>
          </p:cNvPr>
          <p:cNvSpPr/>
          <p:nvPr/>
        </p:nvSpPr>
        <p:spPr>
          <a:xfrm>
            <a:off x="5664201" y="2552700"/>
            <a:ext cx="5794868" cy="3219739"/>
          </a:xfrm>
          <a:prstGeom prst="roundRect">
            <a:avLst>
              <a:gd name="adj" fmla="val 4862"/>
            </a:avLst>
          </a:prstGeom>
          <a:solidFill>
            <a:schemeClr val="bg1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443DC25-4CC4-48DC-9CBE-01CD0D2A046D}"/>
              </a:ext>
            </a:extLst>
          </p:cNvPr>
          <p:cNvSpPr txBox="1">
            <a:spLocks/>
          </p:cNvSpPr>
          <p:nvPr/>
        </p:nvSpPr>
        <p:spPr>
          <a:xfrm>
            <a:off x="5867875" y="2840525"/>
            <a:ext cx="5387519" cy="26440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latin typeface="Ink Free" panose="03080402000500000000" pitchFamily="66" charset="0"/>
              </a:rPr>
              <a:t>What is the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one word </a:t>
            </a:r>
            <a:r>
              <a:rPr lang="en-US" sz="3600">
                <a:latin typeface="Ink Free" panose="03080402000500000000" pitchFamily="66" charset="0"/>
              </a:rPr>
              <a:t>that summarizes today's workshop for you and how would you explain that word in </a:t>
            </a:r>
            <a:r>
              <a:rPr lang="en-US" sz="3600" b="1">
                <a:solidFill>
                  <a:srgbClr val="00AEEF"/>
                </a:solidFill>
                <a:latin typeface="Ink Free" panose="03080402000500000000" pitchFamily="66" charset="0"/>
              </a:rPr>
              <a:t>one sentence</a:t>
            </a:r>
            <a:r>
              <a:rPr lang="en-US" sz="3600">
                <a:latin typeface="Ink Free" panose="03080402000500000000" pitchFamily="66" charset="0"/>
              </a:rPr>
              <a:t>?</a:t>
            </a:r>
            <a:endParaRPr lang="nl-NL" sz="3600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06326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C1262F-7F22-4AD0-B62F-98EE33FA1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Get your career going</a:t>
            </a:r>
          </a:p>
        </p:txBody>
      </p:sp>
    </p:spTree>
    <p:extLst>
      <p:ext uri="{BB962C8B-B14F-4D97-AF65-F5344CB8AC3E}">
        <p14:creationId xmlns:p14="http://schemas.microsoft.com/office/powerpoint/2010/main" val="424625437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6DAB0F3-4671-9899-F236-33BA1A7144DF}"/>
              </a:ext>
            </a:extLst>
          </p:cNvPr>
          <p:cNvSpPr txBox="1"/>
          <p:nvPr/>
        </p:nvSpPr>
        <p:spPr>
          <a:xfrm>
            <a:off x="0" y="5996226"/>
            <a:ext cx="55636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000" i="1" dirty="0"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isclaimer:</a:t>
            </a:r>
            <a:endParaRPr lang="en-US" sz="1000" dirty="0"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he material contains images from Shutterstock. These images cannot be used in any other materials by anyone without applicable Shutterstock licensing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ome of the icons used in this material originate from </a:t>
            </a:r>
            <a:r>
              <a:rPr lang="en-US" sz="1000" dirty="0" err="1"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Flaticon</a:t>
            </a:r>
            <a:r>
              <a:rPr lang="en-US" sz="1000" dirty="0"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</a:t>
            </a:r>
          </a:p>
          <a:p>
            <a:endParaRPr lang="en-US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330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6FC936-E942-4163-A5C5-DC4A16AC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474064-2DB4-41EA-94B5-D2B62486B2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endParaRPr lang="nl-NL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FEC531B-0E03-E6C0-ADF7-2D821CAE0A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C92F33C-68EC-372D-9F14-EB078E8974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68A0B5-E529-69BC-6FDA-288E3F7093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F89EA13-C2EA-EE08-CA7B-720C2BA1A7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2652363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A498622-B694-1932-CE76-670BBA54C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7614" y="5484381"/>
            <a:ext cx="5414386" cy="625775"/>
          </a:xfrm>
        </p:spPr>
        <p:txBody>
          <a:bodyPr/>
          <a:lstStyle/>
          <a:p>
            <a:r>
              <a:rPr lang="nl-NL"/>
              <a:t>INTRODUCING YOURSELVES</a:t>
            </a:r>
          </a:p>
        </p:txBody>
      </p:sp>
    </p:spTree>
    <p:extLst>
      <p:ext uri="{BB962C8B-B14F-4D97-AF65-F5344CB8AC3E}">
        <p14:creationId xmlns:p14="http://schemas.microsoft.com/office/powerpoint/2010/main" val="2243764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BB1CD-5763-CB3A-A3AA-5884F2479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INTRODUCING YOURSEL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D61DA8-D22A-A517-B456-9DB282AFC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Everybody to form a circle and work in pai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49717-98C3-4DD4-5437-EB3796F26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You have 5 minutes and then ... 30 seconds to introduce your fellow student (so manage your time well </a:t>
            </a:r>
            <a:r>
              <a:rPr lang="en-US">
                <a:sym typeface="Wingdings" panose="05000000000000000000" pitchFamily="2" charset="2"/>
              </a:rPr>
              <a:t></a:t>
            </a:r>
            <a:r>
              <a:rPr lang="en-US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E6C37-BA55-7E8B-DF64-68D13CE3F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9600" y="2963177"/>
            <a:ext cx="7505700" cy="154700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/>
              <a:t>In pairs, interview the person next to you and find out: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The name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Where do you come from?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Likes and dislikes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What do you strive for in life … and why?</a:t>
            </a:r>
          </a:p>
        </p:txBody>
      </p:sp>
      <p:pic>
        <p:nvPicPr>
          <p:cNvPr id="7" name="Picture Placeholder 341">
            <a:extLst>
              <a:ext uri="{FF2B5EF4-FFF2-40B4-BE49-F238E27FC236}">
                <a16:creationId xmlns:a16="http://schemas.microsoft.com/office/drawing/2014/main" id="{F096799F-5B42-7449-D202-C074F8EE2C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63707" y="-346714"/>
            <a:ext cx="3916219" cy="3892823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4294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BB1CD-5763-CB3A-A3AA-5884F2479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INTRODUCING YOURSEL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D61DA8-D22A-A517-B456-9DB282AFC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Work in teams of 5 or 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49717-98C3-4DD4-5437-EB3796F26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You have 10 minutes and then ... 2 minutes to introduce your team (so manage your time well </a:t>
            </a:r>
            <a:r>
              <a:rPr lang="en-US">
                <a:sym typeface="Wingdings" panose="05000000000000000000" pitchFamily="2" charset="2"/>
              </a:rPr>
              <a:t></a:t>
            </a:r>
            <a:r>
              <a:rPr lang="en-US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E6C37-BA55-7E8B-DF64-68D13CE3F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/>
              <a:t>In pairs, interview the person next to you and find out: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Get to know each other (who are you?)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Find a cool name for your team</a:t>
            </a:r>
          </a:p>
          <a:p>
            <a:pPr marL="342900" indent="-342900">
              <a:spcBef>
                <a:spcPts val="0"/>
              </a:spcBef>
              <a:buFont typeface="Ink Free" panose="03080402000500000000" pitchFamily="66" charset="0"/>
              <a:buChar char="•"/>
            </a:pPr>
            <a:r>
              <a:rPr lang="en-US" sz="2000"/>
              <a:t>The people in this team strive for …………. and why(?!)</a:t>
            </a:r>
          </a:p>
        </p:txBody>
      </p:sp>
      <p:pic>
        <p:nvPicPr>
          <p:cNvPr id="7" name="Picture Placeholder 341">
            <a:extLst>
              <a:ext uri="{FF2B5EF4-FFF2-40B4-BE49-F238E27FC236}">
                <a16:creationId xmlns:a16="http://schemas.microsoft.com/office/drawing/2014/main" id="{F096799F-5B42-7449-D202-C074F8EE2C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63707" y="-346714"/>
            <a:ext cx="3916219" cy="3892823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2125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D0DD94-901F-2D56-25C6-C5D56B479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4B84764-CFC5-F49B-8776-AC5CDBCEC6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DA1CC6-533F-FC8A-42C0-F040E1009A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16152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Ut1t6a98NOgotggoRyXNcFAAAAAAADAAAAAwADAAAAAQADAAEA////////BAAAAAMAEAALLV3BppOs3kO5IaG4VtZ4u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Ut1t6a98NOgotggoRyXNcDRGF0YQAbAAAABExpbmtlZFNoYXBlRGF0YQAFAAAAAAACTmFtZQAZAAAATGlua2VkU2hhcGVzRGF0YVByb3BlcnR5ABBWZXJzaW9uAAAAAAAJTGFzdFdyaXRlANbvQkOIAQAAAAEA/////8YAxgAAAAVfaWQAEAAAAAQtXcGmk6zeQ7khobhW1ni7A0RhdGEAUwAAAAhQcmVzZW50YXRpb25TY2FubmVkRm9yTGlua2VkU2hhcGVzAAECTnVtYmVyRm9ybWF0U2VwYXJhdG9yTW9kZQAKAAAAQXV0b21hdGljAAACTmFtZQAkAAAATGlua2VkU2hhcGVQcmVzZW50YXRpb25TZXR0aW5nc0RhdGEAEFZlcnNpb24AAAAAAAlMYXN0V3JpdGUAJvBCQ4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203524404229522"/>
  <p:tag name="EMPOWERCHARTSPROPERTIES_B_LENGTH" val="24576"/>
</p:tagLst>
</file>

<file path=ppt/theme/theme1.xml><?xml version="1.0" encoding="utf-8"?>
<a:theme xmlns:a="http://schemas.openxmlformats.org/drawingml/2006/main" name="SPLASH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INTERAC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FILM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ACTIVITY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RECAP QUIZ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THANK YOU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RODUC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RANSITION PAG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NTENT PAGES NO IM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ENT PAGES IMAGE R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NTENT PAGES IMAGE TOP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ONTENT PAGES IMAGE TOP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T PAGES IMAGE BOTTOM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CONTENT PAGES IMAGE BOTTOM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5842810-97e5-4717-a452-62dd49d9c5d3" xsi:nil="true"/>
    <lcf76f155ced4ddcb4097134ff3c332f xmlns="29437e33-b608-46fc-8724-28b79a98715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F186DEBA6DB34A9F2D8BB285EF1F17" ma:contentTypeVersion="18" ma:contentTypeDescription="Create a new document." ma:contentTypeScope="" ma:versionID="a191eb36648810286f8e58e00378605f">
  <xsd:schema xmlns:xsd="http://www.w3.org/2001/XMLSchema" xmlns:xs="http://www.w3.org/2001/XMLSchema" xmlns:p="http://schemas.microsoft.com/office/2006/metadata/properties" xmlns:ns2="29437e33-b608-46fc-8724-28b79a987159" xmlns:ns3="45842810-97e5-4717-a452-62dd49d9c5d3" targetNamespace="http://schemas.microsoft.com/office/2006/metadata/properties" ma:root="true" ma:fieldsID="f4106d97b97d9ae02a38cf8326d160db" ns2:_="" ns3:_="">
    <xsd:import namespace="29437e33-b608-46fc-8724-28b79a987159"/>
    <xsd:import namespace="45842810-97e5-4717-a452-62dd49d9c5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37e33-b608-46fc-8724-28b79a9871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b9e2a73-f419-4c44-99f5-cd310bbfdd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842810-97e5-4717-a452-62dd49d9c5d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598fc78-0e75-408d-a388-f3a47a043782}" ma:internalName="TaxCatchAll" ma:showField="CatchAllData" ma:web="45842810-97e5-4717-a452-62dd49d9c5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D5E054D-3EEF-4C34-828F-642C40BB0236}">
  <ds:schemaRefs>
    <ds:schemaRef ds:uri="http://www.w3.org/XML/1998/namespace"/>
    <ds:schemaRef ds:uri="http://schemas.microsoft.com/office/2006/documentManagement/types"/>
    <ds:schemaRef ds:uri="http://purl.org/dc/elements/1.1/"/>
    <ds:schemaRef ds:uri="7ff01d4a-d9bd-4f1d-8d9e-0fa88185bc99"/>
    <ds:schemaRef ds:uri="http://schemas.microsoft.com/office/2006/metadata/properties"/>
    <ds:schemaRef ds:uri="http://schemas.openxmlformats.org/package/2006/metadata/core-properties"/>
    <ds:schemaRef ds:uri="16d19505-5873-4cf7-b98f-ab573d793237"/>
    <ds:schemaRef ds:uri="http://schemas.microsoft.com/office/infopath/2007/PartnerControls"/>
    <ds:schemaRef ds:uri="http://purl.org/dc/dcmitype/"/>
    <ds:schemaRef ds:uri="http://purl.org/dc/terms/"/>
    <ds:schemaRef ds:uri="45842810-97e5-4717-a452-62dd49d9c5d3"/>
    <ds:schemaRef ds:uri="29437e33-b608-46fc-8724-28b79a987159"/>
  </ds:schemaRefs>
</ds:datastoreItem>
</file>

<file path=customXml/itemProps2.xml><?xml version="1.0" encoding="utf-8"?>
<ds:datastoreItem xmlns:ds="http://schemas.openxmlformats.org/officeDocument/2006/customXml" ds:itemID="{B2956FD1-BE71-4EC4-BDFB-0F8CBBAF1D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7475B4-D2B9-45D8-95FE-C978343FF6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437e33-b608-46fc-8724-28b79a987159"/>
    <ds:schemaRef ds:uri="45842810-97e5-4717-a452-62dd49d9c5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274</Words>
  <Application>Microsoft Office PowerPoint</Application>
  <PresentationFormat>Widescreen</PresentationFormat>
  <Paragraphs>224</Paragraphs>
  <Slides>48</Slides>
  <Notes>4</Notes>
  <HiddenSlides>1</HiddenSlides>
  <MMClips>0</MMClips>
  <ScaleCrop>false</ScaleCrop>
  <HeadingPairs>
    <vt:vector size="4" baseType="variant">
      <vt:variant>
        <vt:lpstr>Theme</vt:lpstr>
      </vt:variant>
      <vt:variant>
        <vt:i4>14</vt:i4>
      </vt:variant>
      <vt:variant>
        <vt:lpstr>Slide Titles</vt:lpstr>
      </vt:variant>
      <vt:variant>
        <vt:i4>48</vt:i4>
      </vt:variant>
    </vt:vector>
  </HeadingPairs>
  <TitlesOfParts>
    <vt:vector size="62" baseType="lpstr">
      <vt:lpstr>SPLASHPAGES</vt:lpstr>
      <vt:lpstr>INTRODUCTION PAGES</vt:lpstr>
      <vt:lpstr>TRANSITION PAGES</vt:lpstr>
      <vt:lpstr>CONTENT PAGES NO IMAGE</vt:lpstr>
      <vt:lpstr>CONTENT PAGES IMAGE RIGHT</vt:lpstr>
      <vt:lpstr>CONTENT PAGES IMAGE TOP 1</vt:lpstr>
      <vt:lpstr>CONTENT PAGES IMAGE TOP 2</vt:lpstr>
      <vt:lpstr>CONTENT PAGES IMAGE BOTTOM 1</vt:lpstr>
      <vt:lpstr>CONTENT PAGES IMAGE BOTTOM 2</vt:lpstr>
      <vt:lpstr>INTERACTION PAGES</vt:lpstr>
      <vt:lpstr>FILM PAGE</vt:lpstr>
      <vt:lpstr>ACTIVITY PAGES</vt:lpstr>
      <vt:lpstr>RECAP QUIZ PAGES</vt:lpstr>
      <vt:lpstr>THANK YOU PAGES</vt:lpstr>
      <vt:lpstr> CAREER TALKS</vt:lpstr>
      <vt:lpstr>PowerPoint Presentation</vt:lpstr>
      <vt:lpstr>PowerPoint Presentation</vt:lpstr>
      <vt:lpstr>GROUNDRULES</vt:lpstr>
      <vt:lpstr>PowerPoint Presentation</vt:lpstr>
      <vt:lpstr>INTRODUCING YOURSELVES</vt:lpstr>
      <vt:lpstr>INTRODUCING YOURSELVES</vt:lpstr>
      <vt:lpstr>INTRODUCING YOURSELVES</vt:lpstr>
      <vt:lpstr>PowerPoint Presentation</vt:lpstr>
      <vt:lpstr>My future career should bring me ...</vt:lpstr>
      <vt:lpstr>My future career should bring me ...</vt:lpstr>
      <vt:lpstr>My future career should bring me ...</vt:lpstr>
      <vt:lpstr>YOUR CAREER</vt:lpstr>
      <vt:lpstr>COMFORT BREAK</vt:lpstr>
      <vt:lpstr>CAREER &amp; CAREER DEVELOPMENT</vt:lpstr>
      <vt:lpstr>CAREER DEVELOPMENT: TOP TIPS</vt:lpstr>
      <vt:lpstr>FOR YOUR INSPIRATION - INDUSTRIES TO PURSUE A CAREER </vt:lpstr>
      <vt:lpstr>PERSONALITY TRAITS &amp; TRANSFERABLE SKILLS</vt:lpstr>
      <vt:lpstr>PERSONALITY TRAITS - EXAMPLES</vt:lpstr>
      <vt:lpstr>TRANSFERABLE SKILLS - EXAMPLES</vt:lpstr>
      <vt:lpstr>AN EXAMPLE</vt:lpstr>
      <vt:lpstr>THE RELEVANCE</vt:lpstr>
      <vt:lpstr>PowerPoint Presentation</vt:lpstr>
      <vt:lpstr>YOUR CAREER – LOGISTICS ACTIVITY</vt:lpstr>
      <vt:lpstr>LOGISTICS INDUSTRY AS AN EXAMPLE</vt:lpstr>
      <vt:lpstr>LOGISTICS ... BUZZ WORDS</vt:lpstr>
      <vt:lpstr>Logistics fun facts</vt:lpstr>
      <vt:lpstr>LOGISTICS FUN FACT - 1</vt:lpstr>
      <vt:lpstr>LOGISTICS FUN FACT - 2</vt:lpstr>
      <vt:lpstr>LOGISTICS FUN FACT - 3</vt:lpstr>
      <vt:lpstr>LOGISTICS FUN FACT - 4</vt:lpstr>
      <vt:lpstr>A QUICK QUESTION ...</vt:lpstr>
      <vt:lpstr>ANY COMMONALITIES?</vt:lpstr>
      <vt:lpstr>WE ARE EVERYWERE!</vt:lpstr>
      <vt:lpstr>A career in logistics</vt:lpstr>
      <vt:lpstr>A CAREER IN LOGISTICS</vt:lpstr>
      <vt:lpstr>PowerPoint Presentation</vt:lpstr>
      <vt:lpstr>WRAP UP</vt:lpstr>
      <vt:lpstr>PowerPoint Presentation</vt:lpstr>
      <vt:lpstr>PowerPoint Presentation</vt:lpstr>
      <vt:lpstr>QUESTION 1</vt:lpstr>
      <vt:lpstr>QUESTION 2</vt:lpstr>
      <vt:lpstr>QUESTION 3</vt:lpstr>
      <vt:lpstr>QUESTION 4</vt:lpstr>
      <vt:lpstr>QUESTION 5</vt:lpstr>
      <vt:lpstr>ONE WORD ... ONE SENTENCE</vt:lpstr>
      <vt:lpstr>Get your career going</vt:lpstr>
      <vt:lpstr>PowerPoint Presentation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s Gelissen (DHL SSC Maastricht)</dc:creator>
  <cp:lastModifiedBy>Bente De Rijke (DHL SSC Maastricht)</cp:lastModifiedBy>
  <cp:revision>3</cp:revision>
  <dcterms:created xsi:type="dcterms:W3CDTF">2022-01-06T11:01:34Z</dcterms:created>
  <dcterms:modified xsi:type="dcterms:W3CDTF">2024-07-12T10:5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F186DEBA6DB34A9F2D8BB285EF1F17</vt:lpwstr>
  </property>
  <property fmtid="{D5CDD505-2E9C-101B-9397-08002B2CF9AE}" pid="3" name="MSIP_Label_736915f3-2f02-4945-8997-f2963298db46_Enabled">
    <vt:lpwstr>true</vt:lpwstr>
  </property>
  <property fmtid="{D5CDD505-2E9C-101B-9397-08002B2CF9AE}" pid="4" name="MSIP_Label_736915f3-2f02-4945-8997-f2963298db46_SetDate">
    <vt:lpwstr>2023-03-01T08:37:06Z</vt:lpwstr>
  </property>
  <property fmtid="{D5CDD505-2E9C-101B-9397-08002B2CF9AE}" pid="5" name="MSIP_Label_736915f3-2f02-4945-8997-f2963298db46_Method">
    <vt:lpwstr>Standard</vt:lpwstr>
  </property>
  <property fmtid="{D5CDD505-2E9C-101B-9397-08002B2CF9AE}" pid="6" name="MSIP_Label_736915f3-2f02-4945-8997-f2963298db46_Name">
    <vt:lpwstr>Internal</vt:lpwstr>
  </property>
  <property fmtid="{D5CDD505-2E9C-101B-9397-08002B2CF9AE}" pid="7" name="MSIP_Label_736915f3-2f02-4945-8997-f2963298db46_SiteId">
    <vt:lpwstr>cd99fef8-1cd3-4a2a-9bdf-15531181d65e</vt:lpwstr>
  </property>
  <property fmtid="{D5CDD505-2E9C-101B-9397-08002B2CF9AE}" pid="8" name="MSIP_Label_736915f3-2f02-4945-8997-f2963298db46_ActionId">
    <vt:lpwstr>095f8399-b45e-4896-911e-46cb41b7092b</vt:lpwstr>
  </property>
  <property fmtid="{D5CDD505-2E9C-101B-9397-08002B2CF9AE}" pid="9" name="MSIP_Label_736915f3-2f02-4945-8997-f2963298db46_ContentBits">
    <vt:lpwstr>1</vt:lpwstr>
  </property>
  <property fmtid="{D5CDD505-2E9C-101B-9397-08002B2CF9AE}" pid="10" name="MediaServiceImageTags">
    <vt:lpwstr/>
  </property>
</Properties>
</file>